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9"/>
  </p:notesMasterIdLst>
  <p:handoutMasterIdLst>
    <p:handoutMasterId r:id="rId10"/>
  </p:handoutMasterIdLst>
  <p:sldIdLst>
    <p:sldId id="1200" r:id="rId5"/>
    <p:sldId id="1219" r:id="rId6"/>
    <p:sldId id="1226" r:id="rId7"/>
    <p:sldId id="1252" r:id="rId8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087" autoAdjust="0"/>
  </p:normalViewPr>
  <p:slideViewPr>
    <p:cSldViewPr>
      <p:cViewPr>
        <p:scale>
          <a:sx n="125" d="100"/>
          <a:sy n="125" d="100"/>
        </p:scale>
        <p:origin x="-756" y="-36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150" y="-90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14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14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altLang="ru-RU" smtClean="0"/>
          </a:p>
        </p:txBody>
      </p:sp>
      <p:sp>
        <p:nvSpPr>
          <p:cNvPr id="157700" name="Дата 3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5D3A3E4-E6D0-4AF7-B06B-3DE8B2BFB684}" type="datetime6">
              <a:rPr lang="en-US" altLang="ru-RU" smtClean="0">
                <a:ea typeface="MS PGothic" pitchFamily="34" charset="-128"/>
              </a:rPr>
              <a:pPr/>
              <a:t>October 24</a:t>
            </a:fld>
            <a:endParaRPr lang="en-US" altLang="ru-RU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1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3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8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3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3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B1BE1-73DF-4119-BEC8-59D976434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| Методика планирования и учета выполнения работ Дистанции пути| 10-11/11/2016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theme" Target="../theme/theme4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  <p:sldLayoutId id="2147484600" r:id="rId4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Блок-схема: данные 4"/>
          <p:cNvSpPr/>
          <p:nvPr/>
        </p:nvSpPr>
        <p:spPr bwMode="auto">
          <a:xfrm>
            <a:off x="0" y="3436938"/>
            <a:ext cx="9142413" cy="62865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83"/>
              <a:gd name="connsiteX1" fmla="*/ 2000 w 10000"/>
              <a:gd name="connsiteY1" fmla="*/ 0 h 10083"/>
              <a:gd name="connsiteX2" fmla="*/ 10000 w 10000"/>
              <a:gd name="connsiteY2" fmla="*/ 0 h 10083"/>
              <a:gd name="connsiteX3" fmla="*/ 9316 w 10000"/>
              <a:gd name="connsiteY3" fmla="*/ 10083 h 10083"/>
              <a:gd name="connsiteX4" fmla="*/ 0 w 10000"/>
              <a:gd name="connsiteY4" fmla="*/ 10000 h 10083"/>
              <a:gd name="connsiteX0" fmla="*/ 0 w 10000"/>
              <a:gd name="connsiteY0" fmla="*/ 10000 h 10083"/>
              <a:gd name="connsiteX1" fmla="*/ 2000 w 10000"/>
              <a:gd name="connsiteY1" fmla="*/ 0 h 10083"/>
              <a:gd name="connsiteX2" fmla="*/ 10000 w 10000"/>
              <a:gd name="connsiteY2" fmla="*/ 0 h 10083"/>
              <a:gd name="connsiteX3" fmla="*/ 9840 w 10000"/>
              <a:gd name="connsiteY3" fmla="*/ 2397 h 10083"/>
              <a:gd name="connsiteX4" fmla="*/ 9316 w 10000"/>
              <a:gd name="connsiteY4" fmla="*/ 10083 h 10083"/>
              <a:gd name="connsiteX5" fmla="*/ 0 w 10000"/>
              <a:gd name="connsiteY5" fmla="*/ 10000 h 10083"/>
              <a:gd name="connsiteX0" fmla="*/ 0 w 10442"/>
              <a:gd name="connsiteY0" fmla="*/ 10000 h 10083"/>
              <a:gd name="connsiteX1" fmla="*/ 2000 w 10442"/>
              <a:gd name="connsiteY1" fmla="*/ 0 h 10083"/>
              <a:gd name="connsiteX2" fmla="*/ 10000 w 10442"/>
              <a:gd name="connsiteY2" fmla="*/ 0 h 10083"/>
              <a:gd name="connsiteX3" fmla="*/ 10439 w 10442"/>
              <a:gd name="connsiteY3" fmla="*/ 661 h 10083"/>
              <a:gd name="connsiteX4" fmla="*/ 9316 w 10442"/>
              <a:gd name="connsiteY4" fmla="*/ 10083 h 10083"/>
              <a:gd name="connsiteX5" fmla="*/ 0 w 10442"/>
              <a:gd name="connsiteY5" fmla="*/ 10000 h 10083"/>
              <a:gd name="connsiteX0" fmla="*/ 0 w 10442"/>
              <a:gd name="connsiteY0" fmla="*/ 10000 h 10083"/>
              <a:gd name="connsiteX1" fmla="*/ 2000 w 10442"/>
              <a:gd name="connsiteY1" fmla="*/ 0 h 10083"/>
              <a:gd name="connsiteX2" fmla="*/ 10000 w 10442"/>
              <a:gd name="connsiteY2" fmla="*/ 0 h 10083"/>
              <a:gd name="connsiteX3" fmla="*/ 10439 w 10442"/>
              <a:gd name="connsiteY3" fmla="*/ 661 h 10083"/>
              <a:gd name="connsiteX4" fmla="*/ 9316 w 10442"/>
              <a:gd name="connsiteY4" fmla="*/ 10083 h 10083"/>
              <a:gd name="connsiteX5" fmla="*/ 0 w 10442"/>
              <a:gd name="connsiteY5" fmla="*/ 10000 h 10083"/>
              <a:gd name="connsiteX0" fmla="*/ 0 w 10717"/>
              <a:gd name="connsiteY0" fmla="*/ 10000 h 10083"/>
              <a:gd name="connsiteX1" fmla="*/ 2000 w 10717"/>
              <a:gd name="connsiteY1" fmla="*/ 0 h 10083"/>
              <a:gd name="connsiteX2" fmla="*/ 10000 w 10717"/>
              <a:gd name="connsiteY2" fmla="*/ 0 h 10083"/>
              <a:gd name="connsiteX3" fmla="*/ 10439 w 10717"/>
              <a:gd name="connsiteY3" fmla="*/ 661 h 10083"/>
              <a:gd name="connsiteX4" fmla="*/ 9316 w 10717"/>
              <a:gd name="connsiteY4" fmla="*/ 10083 h 10083"/>
              <a:gd name="connsiteX5" fmla="*/ 0 w 10717"/>
              <a:gd name="connsiteY5" fmla="*/ 10000 h 10083"/>
              <a:gd name="connsiteX0" fmla="*/ 0 w 10442"/>
              <a:gd name="connsiteY0" fmla="*/ 10000 h 11431"/>
              <a:gd name="connsiteX1" fmla="*/ 2000 w 10442"/>
              <a:gd name="connsiteY1" fmla="*/ 0 h 11431"/>
              <a:gd name="connsiteX2" fmla="*/ 10000 w 10442"/>
              <a:gd name="connsiteY2" fmla="*/ 0 h 11431"/>
              <a:gd name="connsiteX3" fmla="*/ 10439 w 10442"/>
              <a:gd name="connsiteY3" fmla="*/ 661 h 11431"/>
              <a:gd name="connsiteX4" fmla="*/ 9316 w 10442"/>
              <a:gd name="connsiteY4" fmla="*/ 10083 h 11431"/>
              <a:gd name="connsiteX5" fmla="*/ 0 w 10442"/>
              <a:gd name="connsiteY5" fmla="*/ 10000 h 11431"/>
              <a:gd name="connsiteX0" fmla="*/ 0 w 10442"/>
              <a:gd name="connsiteY0" fmla="*/ 10000 h 10184"/>
              <a:gd name="connsiteX1" fmla="*/ 2000 w 10442"/>
              <a:gd name="connsiteY1" fmla="*/ 0 h 10184"/>
              <a:gd name="connsiteX2" fmla="*/ 10000 w 10442"/>
              <a:gd name="connsiteY2" fmla="*/ 0 h 10184"/>
              <a:gd name="connsiteX3" fmla="*/ 10439 w 10442"/>
              <a:gd name="connsiteY3" fmla="*/ 661 h 10184"/>
              <a:gd name="connsiteX4" fmla="*/ 9316 w 10442"/>
              <a:gd name="connsiteY4" fmla="*/ 10083 h 10184"/>
              <a:gd name="connsiteX5" fmla="*/ 0 w 10442"/>
              <a:gd name="connsiteY5" fmla="*/ 10000 h 10184"/>
              <a:gd name="connsiteX0" fmla="*/ 0 w 10442"/>
              <a:gd name="connsiteY0" fmla="*/ 10000 h 10121"/>
              <a:gd name="connsiteX1" fmla="*/ 2000 w 10442"/>
              <a:gd name="connsiteY1" fmla="*/ 0 h 10121"/>
              <a:gd name="connsiteX2" fmla="*/ 10000 w 10442"/>
              <a:gd name="connsiteY2" fmla="*/ 0 h 10121"/>
              <a:gd name="connsiteX3" fmla="*/ 10439 w 10442"/>
              <a:gd name="connsiteY3" fmla="*/ 661 h 10121"/>
              <a:gd name="connsiteX4" fmla="*/ 8899 w 10442"/>
              <a:gd name="connsiteY4" fmla="*/ 10000 h 10121"/>
              <a:gd name="connsiteX5" fmla="*/ 0 w 10442"/>
              <a:gd name="connsiteY5" fmla="*/ 10000 h 10121"/>
              <a:gd name="connsiteX0" fmla="*/ 0 w 10442"/>
              <a:gd name="connsiteY0" fmla="*/ 10000 h 10121"/>
              <a:gd name="connsiteX1" fmla="*/ 2000 w 10442"/>
              <a:gd name="connsiteY1" fmla="*/ 0 h 10121"/>
              <a:gd name="connsiteX2" fmla="*/ 10000 w 10442"/>
              <a:gd name="connsiteY2" fmla="*/ 0 h 10121"/>
              <a:gd name="connsiteX3" fmla="*/ 10439 w 10442"/>
              <a:gd name="connsiteY3" fmla="*/ 661 h 10121"/>
              <a:gd name="connsiteX4" fmla="*/ 9102 w 10442"/>
              <a:gd name="connsiteY4" fmla="*/ 10000 h 10121"/>
              <a:gd name="connsiteX5" fmla="*/ 0 w 10442"/>
              <a:gd name="connsiteY5" fmla="*/ 10000 h 10121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697"/>
              <a:gd name="connsiteY0" fmla="*/ 10135 h 10202"/>
              <a:gd name="connsiteX1" fmla="*/ 2000 w 10697"/>
              <a:gd name="connsiteY1" fmla="*/ 135 h 10202"/>
              <a:gd name="connsiteX2" fmla="*/ 10000 w 10697"/>
              <a:gd name="connsiteY2" fmla="*/ 135 h 10202"/>
              <a:gd name="connsiteX3" fmla="*/ 10335 w 10697"/>
              <a:gd name="connsiteY3" fmla="*/ 417 h 10202"/>
              <a:gd name="connsiteX4" fmla="*/ 10439 w 10697"/>
              <a:gd name="connsiteY4" fmla="*/ 796 h 10202"/>
              <a:gd name="connsiteX5" fmla="*/ 9198 w 10697"/>
              <a:gd name="connsiteY5" fmla="*/ 10052 h 10202"/>
              <a:gd name="connsiteX6" fmla="*/ 0 w 10697"/>
              <a:gd name="connsiteY6" fmla="*/ 10135 h 10202"/>
              <a:gd name="connsiteX0" fmla="*/ 0 w 10697"/>
              <a:gd name="connsiteY0" fmla="*/ 10135 h 10202"/>
              <a:gd name="connsiteX1" fmla="*/ 2000 w 10697"/>
              <a:gd name="connsiteY1" fmla="*/ 135 h 10202"/>
              <a:gd name="connsiteX2" fmla="*/ 10000 w 10697"/>
              <a:gd name="connsiteY2" fmla="*/ 135 h 10202"/>
              <a:gd name="connsiteX3" fmla="*/ 10335 w 10697"/>
              <a:gd name="connsiteY3" fmla="*/ 417 h 10202"/>
              <a:gd name="connsiteX4" fmla="*/ 10439 w 10697"/>
              <a:gd name="connsiteY4" fmla="*/ 796 h 10202"/>
              <a:gd name="connsiteX5" fmla="*/ 9198 w 10697"/>
              <a:gd name="connsiteY5" fmla="*/ 10052 h 10202"/>
              <a:gd name="connsiteX6" fmla="*/ 0 w 10697"/>
              <a:gd name="connsiteY6" fmla="*/ 10135 h 10202"/>
              <a:gd name="connsiteX0" fmla="*/ 0 w 11090"/>
              <a:gd name="connsiteY0" fmla="*/ 14402 h 14469"/>
              <a:gd name="connsiteX1" fmla="*/ 2000 w 11090"/>
              <a:gd name="connsiteY1" fmla="*/ 4402 h 14469"/>
              <a:gd name="connsiteX2" fmla="*/ 10000 w 11090"/>
              <a:gd name="connsiteY2" fmla="*/ 4402 h 14469"/>
              <a:gd name="connsiteX3" fmla="*/ 11084 w 11090"/>
              <a:gd name="connsiteY3" fmla="*/ 1 h 14469"/>
              <a:gd name="connsiteX4" fmla="*/ 10439 w 11090"/>
              <a:gd name="connsiteY4" fmla="*/ 5063 h 14469"/>
              <a:gd name="connsiteX5" fmla="*/ 9198 w 11090"/>
              <a:gd name="connsiteY5" fmla="*/ 14319 h 14469"/>
              <a:gd name="connsiteX6" fmla="*/ 0 w 11090"/>
              <a:gd name="connsiteY6" fmla="*/ 14402 h 14469"/>
              <a:gd name="connsiteX0" fmla="*/ 0 w 11090"/>
              <a:gd name="connsiteY0" fmla="*/ 14401 h 14468"/>
              <a:gd name="connsiteX1" fmla="*/ 2000 w 11090"/>
              <a:gd name="connsiteY1" fmla="*/ 4401 h 14468"/>
              <a:gd name="connsiteX2" fmla="*/ 10000 w 11090"/>
              <a:gd name="connsiteY2" fmla="*/ 4401 h 14468"/>
              <a:gd name="connsiteX3" fmla="*/ 11084 w 11090"/>
              <a:gd name="connsiteY3" fmla="*/ 0 h 14468"/>
              <a:gd name="connsiteX4" fmla="*/ 10439 w 11090"/>
              <a:gd name="connsiteY4" fmla="*/ 5062 h 14468"/>
              <a:gd name="connsiteX5" fmla="*/ 9198 w 11090"/>
              <a:gd name="connsiteY5" fmla="*/ 14318 h 14468"/>
              <a:gd name="connsiteX6" fmla="*/ 0 w 11090"/>
              <a:gd name="connsiteY6" fmla="*/ 14401 h 14468"/>
              <a:gd name="connsiteX0" fmla="*/ 0 w 11338"/>
              <a:gd name="connsiteY0" fmla="*/ 14401 h 14468"/>
              <a:gd name="connsiteX1" fmla="*/ 2000 w 11338"/>
              <a:gd name="connsiteY1" fmla="*/ 4401 h 14468"/>
              <a:gd name="connsiteX2" fmla="*/ 10000 w 11338"/>
              <a:gd name="connsiteY2" fmla="*/ 4401 h 14468"/>
              <a:gd name="connsiteX3" fmla="*/ 11084 w 11338"/>
              <a:gd name="connsiteY3" fmla="*/ 0 h 14468"/>
              <a:gd name="connsiteX4" fmla="*/ 10439 w 11338"/>
              <a:gd name="connsiteY4" fmla="*/ 5062 h 14468"/>
              <a:gd name="connsiteX5" fmla="*/ 9198 w 11338"/>
              <a:gd name="connsiteY5" fmla="*/ 14318 h 14468"/>
              <a:gd name="connsiteX6" fmla="*/ 0 w 11338"/>
              <a:gd name="connsiteY6" fmla="*/ 14401 h 14468"/>
              <a:gd name="connsiteX0" fmla="*/ 0 w 11338"/>
              <a:gd name="connsiteY0" fmla="*/ 15792 h 15859"/>
              <a:gd name="connsiteX1" fmla="*/ 2000 w 11338"/>
              <a:gd name="connsiteY1" fmla="*/ 5792 h 15859"/>
              <a:gd name="connsiteX2" fmla="*/ 10000 w 11338"/>
              <a:gd name="connsiteY2" fmla="*/ 5792 h 15859"/>
              <a:gd name="connsiteX3" fmla="*/ 11084 w 11338"/>
              <a:gd name="connsiteY3" fmla="*/ 1391 h 15859"/>
              <a:gd name="connsiteX4" fmla="*/ 10439 w 11338"/>
              <a:gd name="connsiteY4" fmla="*/ 6453 h 15859"/>
              <a:gd name="connsiteX5" fmla="*/ 9198 w 11338"/>
              <a:gd name="connsiteY5" fmla="*/ 15709 h 15859"/>
              <a:gd name="connsiteX6" fmla="*/ 0 w 11338"/>
              <a:gd name="connsiteY6" fmla="*/ 15792 h 15859"/>
              <a:gd name="connsiteX0" fmla="*/ 0 w 11338"/>
              <a:gd name="connsiteY0" fmla="*/ 14401 h 14468"/>
              <a:gd name="connsiteX1" fmla="*/ 2000 w 11338"/>
              <a:gd name="connsiteY1" fmla="*/ 4401 h 14468"/>
              <a:gd name="connsiteX2" fmla="*/ 10000 w 11338"/>
              <a:gd name="connsiteY2" fmla="*/ 4401 h 14468"/>
              <a:gd name="connsiteX3" fmla="*/ 11084 w 11338"/>
              <a:gd name="connsiteY3" fmla="*/ 0 h 14468"/>
              <a:gd name="connsiteX4" fmla="*/ 10439 w 11338"/>
              <a:gd name="connsiteY4" fmla="*/ 5062 h 14468"/>
              <a:gd name="connsiteX5" fmla="*/ 9198 w 11338"/>
              <a:gd name="connsiteY5" fmla="*/ 14318 h 14468"/>
              <a:gd name="connsiteX6" fmla="*/ 0 w 11338"/>
              <a:gd name="connsiteY6" fmla="*/ 14401 h 14468"/>
              <a:gd name="connsiteX0" fmla="*/ 0 w 11258"/>
              <a:gd name="connsiteY0" fmla="*/ 15712 h 15779"/>
              <a:gd name="connsiteX1" fmla="*/ 2000 w 11258"/>
              <a:gd name="connsiteY1" fmla="*/ 5712 h 15779"/>
              <a:gd name="connsiteX2" fmla="*/ 10000 w 11258"/>
              <a:gd name="connsiteY2" fmla="*/ 5712 h 15779"/>
              <a:gd name="connsiteX3" fmla="*/ 11084 w 11258"/>
              <a:gd name="connsiteY3" fmla="*/ 1311 h 15779"/>
              <a:gd name="connsiteX4" fmla="*/ 10439 w 11258"/>
              <a:gd name="connsiteY4" fmla="*/ 6373 h 15779"/>
              <a:gd name="connsiteX5" fmla="*/ 9198 w 11258"/>
              <a:gd name="connsiteY5" fmla="*/ 15629 h 15779"/>
              <a:gd name="connsiteX6" fmla="*/ 0 w 11258"/>
              <a:gd name="connsiteY6" fmla="*/ 15712 h 15779"/>
              <a:gd name="connsiteX0" fmla="*/ 0 w 13793"/>
              <a:gd name="connsiteY0" fmla="*/ 11590 h 11657"/>
              <a:gd name="connsiteX1" fmla="*/ 2000 w 13793"/>
              <a:gd name="connsiteY1" fmla="*/ 1590 h 11657"/>
              <a:gd name="connsiteX2" fmla="*/ 10000 w 13793"/>
              <a:gd name="connsiteY2" fmla="*/ 1590 h 11657"/>
              <a:gd name="connsiteX3" fmla="*/ 13731 w 13793"/>
              <a:gd name="connsiteY3" fmla="*/ 2217 h 11657"/>
              <a:gd name="connsiteX4" fmla="*/ 10439 w 13793"/>
              <a:gd name="connsiteY4" fmla="*/ 2251 h 11657"/>
              <a:gd name="connsiteX5" fmla="*/ 9198 w 13793"/>
              <a:gd name="connsiteY5" fmla="*/ 11507 h 11657"/>
              <a:gd name="connsiteX6" fmla="*/ 0 w 13793"/>
              <a:gd name="connsiteY6" fmla="*/ 11590 h 11657"/>
              <a:gd name="connsiteX0" fmla="*/ 0 w 13731"/>
              <a:gd name="connsiteY0" fmla="*/ 11590 h 11657"/>
              <a:gd name="connsiteX1" fmla="*/ 2000 w 13731"/>
              <a:gd name="connsiteY1" fmla="*/ 1590 h 11657"/>
              <a:gd name="connsiteX2" fmla="*/ 10000 w 13731"/>
              <a:gd name="connsiteY2" fmla="*/ 1590 h 11657"/>
              <a:gd name="connsiteX3" fmla="*/ 13731 w 13731"/>
              <a:gd name="connsiteY3" fmla="*/ 2217 h 11657"/>
              <a:gd name="connsiteX4" fmla="*/ 10439 w 13731"/>
              <a:gd name="connsiteY4" fmla="*/ 2251 h 11657"/>
              <a:gd name="connsiteX5" fmla="*/ 9198 w 13731"/>
              <a:gd name="connsiteY5" fmla="*/ 11507 h 11657"/>
              <a:gd name="connsiteX6" fmla="*/ 0 w 13731"/>
              <a:gd name="connsiteY6" fmla="*/ 11590 h 11657"/>
              <a:gd name="connsiteX0" fmla="*/ 0 w 13732"/>
              <a:gd name="connsiteY0" fmla="*/ 10000 h 10067"/>
              <a:gd name="connsiteX1" fmla="*/ 2000 w 13732"/>
              <a:gd name="connsiteY1" fmla="*/ 0 h 10067"/>
              <a:gd name="connsiteX2" fmla="*/ 10000 w 13732"/>
              <a:gd name="connsiteY2" fmla="*/ 0 h 10067"/>
              <a:gd name="connsiteX3" fmla="*/ 13731 w 13732"/>
              <a:gd name="connsiteY3" fmla="*/ 627 h 10067"/>
              <a:gd name="connsiteX4" fmla="*/ 10439 w 13732"/>
              <a:gd name="connsiteY4" fmla="*/ 661 h 10067"/>
              <a:gd name="connsiteX5" fmla="*/ 9198 w 13732"/>
              <a:gd name="connsiteY5" fmla="*/ 9917 h 10067"/>
              <a:gd name="connsiteX6" fmla="*/ 0 w 13732"/>
              <a:gd name="connsiteY6" fmla="*/ 10000 h 10067"/>
              <a:gd name="connsiteX0" fmla="*/ 0 w 13734"/>
              <a:gd name="connsiteY0" fmla="*/ 10000 h 10067"/>
              <a:gd name="connsiteX1" fmla="*/ 2000 w 13734"/>
              <a:gd name="connsiteY1" fmla="*/ 0 h 10067"/>
              <a:gd name="connsiteX2" fmla="*/ 10000 w 13734"/>
              <a:gd name="connsiteY2" fmla="*/ 0 h 10067"/>
              <a:gd name="connsiteX3" fmla="*/ 13731 w 13734"/>
              <a:gd name="connsiteY3" fmla="*/ 627 h 10067"/>
              <a:gd name="connsiteX4" fmla="*/ 10439 w 13734"/>
              <a:gd name="connsiteY4" fmla="*/ 661 h 10067"/>
              <a:gd name="connsiteX5" fmla="*/ 9198 w 13734"/>
              <a:gd name="connsiteY5" fmla="*/ 9917 h 10067"/>
              <a:gd name="connsiteX6" fmla="*/ 0 w 13734"/>
              <a:gd name="connsiteY6" fmla="*/ 10000 h 10067"/>
              <a:gd name="connsiteX0" fmla="*/ 0 w 13740"/>
              <a:gd name="connsiteY0" fmla="*/ 10969 h 11036"/>
              <a:gd name="connsiteX1" fmla="*/ 2000 w 13740"/>
              <a:gd name="connsiteY1" fmla="*/ 969 h 11036"/>
              <a:gd name="connsiteX2" fmla="*/ 10000 w 13740"/>
              <a:gd name="connsiteY2" fmla="*/ 969 h 11036"/>
              <a:gd name="connsiteX3" fmla="*/ 13731 w 13740"/>
              <a:gd name="connsiteY3" fmla="*/ 1596 h 11036"/>
              <a:gd name="connsiteX4" fmla="*/ 10439 w 13740"/>
              <a:gd name="connsiteY4" fmla="*/ 1630 h 11036"/>
              <a:gd name="connsiteX5" fmla="*/ 9198 w 13740"/>
              <a:gd name="connsiteY5" fmla="*/ 10886 h 11036"/>
              <a:gd name="connsiteX6" fmla="*/ 0 w 13740"/>
              <a:gd name="connsiteY6" fmla="*/ 10969 h 11036"/>
              <a:gd name="connsiteX0" fmla="*/ 0 w 14089"/>
              <a:gd name="connsiteY0" fmla="*/ 10847 h 10914"/>
              <a:gd name="connsiteX1" fmla="*/ 2000 w 14089"/>
              <a:gd name="connsiteY1" fmla="*/ 847 h 10914"/>
              <a:gd name="connsiteX2" fmla="*/ 10000 w 14089"/>
              <a:gd name="connsiteY2" fmla="*/ 847 h 10914"/>
              <a:gd name="connsiteX3" fmla="*/ 13582 w 14089"/>
              <a:gd name="connsiteY3" fmla="*/ 10 h 10914"/>
              <a:gd name="connsiteX4" fmla="*/ 13731 w 14089"/>
              <a:gd name="connsiteY4" fmla="*/ 1474 h 10914"/>
              <a:gd name="connsiteX5" fmla="*/ 10439 w 14089"/>
              <a:gd name="connsiteY5" fmla="*/ 1508 h 10914"/>
              <a:gd name="connsiteX6" fmla="*/ 9198 w 14089"/>
              <a:gd name="connsiteY6" fmla="*/ 10764 h 10914"/>
              <a:gd name="connsiteX7" fmla="*/ 0 w 14089"/>
              <a:gd name="connsiteY7" fmla="*/ 10847 h 10914"/>
              <a:gd name="connsiteX0" fmla="*/ 0 w 14089"/>
              <a:gd name="connsiteY0" fmla="*/ 10847 h 10914"/>
              <a:gd name="connsiteX1" fmla="*/ 2000 w 14089"/>
              <a:gd name="connsiteY1" fmla="*/ 847 h 10914"/>
              <a:gd name="connsiteX2" fmla="*/ 10000 w 14089"/>
              <a:gd name="connsiteY2" fmla="*/ 847 h 10914"/>
              <a:gd name="connsiteX3" fmla="*/ 13582 w 14089"/>
              <a:gd name="connsiteY3" fmla="*/ 10 h 10914"/>
              <a:gd name="connsiteX4" fmla="*/ 13731 w 14089"/>
              <a:gd name="connsiteY4" fmla="*/ 1474 h 10914"/>
              <a:gd name="connsiteX5" fmla="*/ 10439 w 14089"/>
              <a:gd name="connsiteY5" fmla="*/ 1508 h 10914"/>
              <a:gd name="connsiteX6" fmla="*/ 9198 w 14089"/>
              <a:gd name="connsiteY6" fmla="*/ 10764 h 10914"/>
              <a:gd name="connsiteX7" fmla="*/ 0 w 14089"/>
              <a:gd name="connsiteY7" fmla="*/ 10847 h 10914"/>
              <a:gd name="connsiteX0" fmla="*/ 0 w 13938"/>
              <a:gd name="connsiteY0" fmla="*/ 11006 h 11073"/>
              <a:gd name="connsiteX1" fmla="*/ 2000 w 13938"/>
              <a:gd name="connsiteY1" fmla="*/ 1006 h 11073"/>
              <a:gd name="connsiteX2" fmla="*/ 10000 w 13938"/>
              <a:gd name="connsiteY2" fmla="*/ 1006 h 11073"/>
              <a:gd name="connsiteX3" fmla="*/ 13582 w 13938"/>
              <a:gd name="connsiteY3" fmla="*/ 169 h 11073"/>
              <a:gd name="connsiteX4" fmla="*/ 13731 w 13938"/>
              <a:gd name="connsiteY4" fmla="*/ 1633 h 11073"/>
              <a:gd name="connsiteX5" fmla="*/ 10439 w 13938"/>
              <a:gd name="connsiteY5" fmla="*/ 1667 h 11073"/>
              <a:gd name="connsiteX6" fmla="*/ 9198 w 13938"/>
              <a:gd name="connsiteY6" fmla="*/ 10923 h 11073"/>
              <a:gd name="connsiteX7" fmla="*/ 0 w 13938"/>
              <a:gd name="connsiteY7" fmla="*/ 11006 h 11073"/>
              <a:gd name="connsiteX0" fmla="*/ 0 w 13930"/>
              <a:gd name="connsiteY0" fmla="*/ 11006 h 11073"/>
              <a:gd name="connsiteX1" fmla="*/ 2000 w 13930"/>
              <a:gd name="connsiteY1" fmla="*/ 1006 h 11073"/>
              <a:gd name="connsiteX2" fmla="*/ 10000 w 13930"/>
              <a:gd name="connsiteY2" fmla="*/ 1006 h 11073"/>
              <a:gd name="connsiteX3" fmla="*/ 13582 w 13930"/>
              <a:gd name="connsiteY3" fmla="*/ 169 h 11073"/>
              <a:gd name="connsiteX4" fmla="*/ 13731 w 13930"/>
              <a:gd name="connsiteY4" fmla="*/ 1633 h 11073"/>
              <a:gd name="connsiteX5" fmla="*/ 10439 w 13930"/>
              <a:gd name="connsiteY5" fmla="*/ 1667 h 11073"/>
              <a:gd name="connsiteX6" fmla="*/ 9198 w 13930"/>
              <a:gd name="connsiteY6" fmla="*/ 10923 h 11073"/>
              <a:gd name="connsiteX7" fmla="*/ 0 w 13930"/>
              <a:gd name="connsiteY7" fmla="*/ 11006 h 11073"/>
              <a:gd name="connsiteX0" fmla="*/ 0 w 14659"/>
              <a:gd name="connsiteY0" fmla="*/ 10845 h 10912"/>
              <a:gd name="connsiteX1" fmla="*/ 2000 w 14659"/>
              <a:gd name="connsiteY1" fmla="*/ 845 h 10912"/>
              <a:gd name="connsiteX2" fmla="*/ 10000 w 14659"/>
              <a:gd name="connsiteY2" fmla="*/ 845 h 10912"/>
              <a:gd name="connsiteX3" fmla="*/ 13582 w 14659"/>
              <a:gd name="connsiteY3" fmla="*/ 8 h 10912"/>
              <a:gd name="connsiteX4" fmla="*/ 14473 w 14659"/>
              <a:gd name="connsiteY4" fmla="*/ 491 h 10912"/>
              <a:gd name="connsiteX5" fmla="*/ 10439 w 14659"/>
              <a:gd name="connsiteY5" fmla="*/ 1506 h 10912"/>
              <a:gd name="connsiteX6" fmla="*/ 9198 w 14659"/>
              <a:gd name="connsiteY6" fmla="*/ 10762 h 10912"/>
              <a:gd name="connsiteX7" fmla="*/ 0 w 14659"/>
              <a:gd name="connsiteY7" fmla="*/ 10845 h 10912"/>
              <a:gd name="connsiteX0" fmla="*/ 0 w 14554"/>
              <a:gd name="connsiteY0" fmla="*/ 10859 h 10926"/>
              <a:gd name="connsiteX1" fmla="*/ 2000 w 14554"/>
              <a:gd name="connsiteY1" fmla="*/ 859 h 10926"/>
              <a:gd name="connsiteX2" fmla="*/ 10000 w 14554"/>
              <a:gd name="connsiteY2" fmla="*/ 859 h 10926"/>
              <a:gd name="connsiteX3" fmla="*/ 13582 w 14554"/>
              <a:gd name="connsiteY3" fmla="*/ 22 h 10926"/>
              <a:gd name="connsiteX4" fmla="*/ 14473 w 14554"/>
              <a:gd name="connsiteY4" fmla="*/ 505 h 10926"/>
              <a:gd name="connsiteX5" fmla="*/ 10439 w 14554"/>
              <a:gd name="connsiteY5" fmla="*/ 1520 h 10926"/>
              <a:gd name="connsiteX6" fmla="*/ 9198 w 14554"/>
              <a:gd name="connsiteY6" fmla="*/ 10776 h 10926"/>
              <a:gd name="connsiteX7" fmla="*/ 0 w 14554"/>
              <a:gd name="connsiteY7" fmla="*/ 10859 h 10926"/>
              <a:gd name="connsiteX0" fmla="*/ 0 w 14554"/>
              <a:gd name="connsiteY0" fmla="*/ 10859 h 10926"/>
              <a:gd name="connsiteX1" fmla="*/ 2000 w 14554"/>
              <a:gd name="connsiteY1" fmla="*/ 859 h 10926"/>
              <a:gd name="connsiteX2" fmla="*/ 10000 w 14554"/>
              <a:gd name="connsiteY2" fmla="*/ 859 h 10926"/>
              <a:gd name="connsiteX3" fmla="*/ 13582 w 14554"/>
              <a:gd name="connsiteY3" fmla="*/ 22 h 10926"/>
              <a:gd name="connsiteX4" fmla="*/ 14473 w 14554"/>
              <a:gd name="connsiteY4" fmla="*/ 505 h 10926"/>
              <a:gd name="connsiteX5" fmla="*/ 10439 w 14554"/>
              <a:gd name="connsiteY5" fmla="*/ 1520 h 10926"/>
              <a:gd name="connsiteX6" fmla="*/ 9198 w 14554"/>
              <a:gd name="connsiteY6" fmla="*/ 10776 h 10926"/>
              <a:gd name="connsiteX7" fmla="*/ 0 w 14554"/>
              <a:gd name="connsiteY7" fmla="*/ 10859 h 10926"/>
              <a:gd name="connsiteX0" fmla="*/ 0 w 14482"/>
              <a:gd name="connsiteY0" fmla="*/ 11191 h 11258"/>
              <a:gd name="connsiteX1" fmla="*/ 2000 w 14482"/>
              <a:gd name="connsiteY1" fmla="*/ 1191 h 11258"/>
              <a:gd name="connsiteX2" fmla="*/ 10000 w 14482"/>
              <a:gd name="connsiteY2" fmla="*/ 1191 h 11258"/>
              <a:gd name="connsiteX3" fmla="*/ 13582 w 14482"/>
              <a:gd name="connsiteY3" fmla="*/ 354 h 11258"/>
              <a:gd name="connsiteX4" fmla="*/ 14473 w 14482"/>
              <a:gd name="connsiteY4" fmla="*/ 837 h 11258"/>
              <a:gd name="connsiteX5" fmla="*/ 10439 w 14482"/>
              <a:gd name="connsiteY5" fmla="*/ 1852 h 11258"/>
              <a:gd name="connsiteX6" fmla="*/ 9198 w 14482"/>
              <a:gd name="connsiteY6" fmla="*/ 11108 h 11258"/>
              <a:gd name="connsiteX7" fmla="*/ 0 w 14482"/>
              <a:gd name="connsiteY7" fmla="*/ 11191 h 11258"/>
              <a:gd name="connsiteX0" fmla="*/ 0 w 14481"/>
              <a:gd name="connsiteY0" fmla="*/ 11191 h 11258"/>
              <a:gd name="connsiteX1" fmla="*/ 2000 w 14481"/>
              <a:gd name="connsiteY1" fmla="*/ 1191 h 11258"/>
              <a:gd name="connsiteX2" fmla="*/ 10000 w 14481"/>
              <a:gd name="connsiteY2" fmla="*/ 1191 h 11258"/>
              <a:gd name="connsiteX3" fmla="*/ 13582 w 14481"/>
              <a:gd name="connsiteY3" fmla="*/ 354 h 11258"/>
              <a:gd name="connsiteX4" fmla="*/ 14473 w 14481"/>
              <a:gd name="connsiteY4" fmla="*/ 837 h 11258"/>
              <a:gd name="connsiteX5" fmla="*/ 10439 w 14481"/>
              <a:gd name="connsiteY5" fmla="*/ 1852 h 11258"/>
              <a:gd name="connsiteX6" fmla="*/ 9198 w 14481"/>
              <a:gd name="connsiteY6" fmla="*/ 11108 h 11258"/>
              <a:gd name="connsiteX7" fmla="*/ 0 w 14481"/>
              <a:gd name="connsiteY7" fmla="*/ 11191 h 11258"/>
              <a:gd name="connsiteX0" fmla="*/ 0 w 14532"/>
              <a:gd name="connsiteY0" fmla="*/ 10905 h 10972"/>
              <a:gd name="connsiteX1" fmla="*/ 2000 w 14532"/>
              <a:gd name="connsiteY1" fmla="*/ 905 h 10972"/>
              <a:gd name="connsiteX2" fmla="*/ 10000 w 14532"/>
              <a:gd name="connsiteY2" fmla="*/ 905 h 10972"/>
              <a:gd name="connsiteX3" fmla="*/ 13582 w 14532"/>
              <a:gd name="connsiteY3" fmla="*/ 68 h 10972"/>
              <a:gd name="connsiteX4" fmla="*/ 14526 w 14532"/>
              <a:gd name="connsiteY4" fmla="*/ 1068 h 10972"/>
              <a:gd name="connsiteX5" fmla="*/ 10439 w 14532"/>
              <a:gd name="connsiteY5" fmla="*/ 1566 h 10972"/>
              <a:gd name="connsiteX6" fmla="*/ 9198 w 14532"/>
              <a:gd name="connsiteY6" fmla="*/ 10822 h 10972"/>
              <a:gd name="connsiteX7" fmla="*/ 0 w 14532"/>
              <a:gd name="connsiteY7" fmla="*/ 10905 h 10972"/>
              <a:gd name="connsiteX0" fmla="*/ 0 w 15121"/>
              <a:gd name="connsiteY0" fmla="*/ 10838 h 10905"/>
              <a:gd name="connsiteX1" fmla="*/ 2000 w 15121"/>
              <a:gd name="connsiteY1" fmla="*/ 838 h 10905"/>
              <a:gd name="connsiteX2" fmla="*/ 10000 w 15121"/>
              <a:gd name="connsiteY2" fmla="*/ 838 h 10905"/>
              <a:gd name="connsiteX3" fmla="*/ 13582 w 15121"/>
              <a:gd name="connsiteY3" fmla="*/ 1 h 10905"/>
              <a:gd name="connsiteX4" fmla="*/ 14526 w 15121"/>
              <a:gd name="connsiteY4" fmla="*/ 1001 h 10905"/>
              <a:gd name="connsiteX5" fmla="*/ 10439 w 15121"/>
              <a:gd name="connsiteY5" fmla="*/ 1499 h 10905"/>
              <a:gd name="connsiteX6" fmla="*/ 9198 w 15121"/>
              <a:gd name="connsiteY6" fmla="*/ 10755 h 10905"/>
              <a:gd name="connsiteX7" fmla="*/ 0 w 15121"/>
              <a:gd name="connsiteY7" fmla="*/ 10838 h 10905"/>
              <a:gd name="connsiteX0" fmla="*/ 0 w 15115"/>
              <a:gd name="connsiteY0" fmla="*/ 10849 h 10916"/>
              <a:gd name="connsiteX1" fmla="*/ 2000 w 15115"/>
              <a:gd name="connsiteY1" fmla="*/ 849 h 10916"/>
              <a:gd name="connsiteX2" fmla="*/ 10000 w 15115"/>
              <a:gd name="connsiteY2" fmla="*/ 849 h 10916"/>
              <a:gd name="connsiteX3" fmla="*/ 13582 w 15115"/>
              <a:gd name="connsiteY3" fmla="*/ 12 h 10916"/>
              <a:gd name="connsiteX4" fmla="*/ 14519 w 15115"/>
              <a:gd name="connsiteY4" fmla="*/ 1580 h 10916"/>
              <a:gd name="connsiteX5" fmla="*/ 10439 w 15115"/>
              <a:gd name="connsiteY5" fmla="*/ 1510 h 10916"/>
              <a:gd name="connsiteX6" fmla="*/ 9198 w 15115"/>
              <a:gd name="connsiteY6" fmla="*/ 10766 h 10916"/>
              <a:gd name="connsiteX7" fmla="*/ 0 w 15115"/>
              <a:gd name="connsiteY7" fmla="*/ 10849 h 10916"/>
              <a:gd name="connsiteX0" fmla="*/ 0 w 14661"/>
              <a:gd name="connsiteY0" fmla="*/ 10849 h 10916"/>
              <a:gd name="connsiteX1" fmla="*/ 2000 w 14661"/>
              <a:gd name="connsiteY1" fmla="*/ 849 h 10916"/>
              <a:gd name="connsiteX2" fmla="*/ 10000 w 14661"/>
              <a:gd name="connsiteY2" fmla="*/ 849 h 10916"/>
              <a:gd name="connsiteX3" fmla="*/ 13582 w 14661"/>
              <a:gd name="connsiteY3" fmla="*/ 12 h 10916"/>
              <a:gd name="connsiteX4" fmla="*/ 14519 w 14661"/>
              <a:gd name="connsiteY4" fmla="*/ 1580 h 10916"/>
              <a:gd name="connsiteX5" fmla="*/ 10439 w 14661"/>
              <a:gd name="connsiteY5" fmla="*/ 1510 h 10916"/>
              <a:gd name="connsiteX6" fmla="*/ 9198 w 14661"/>
              <a:gd name="connsiteY6" fmla="*/ 10766 h 10916"/>
              <a:gd name="connsiteX7" fmla="*/ 0 w 14661"/>
              <a:gd name="connsiteY7" fmla="*/ 10849 h 10916"/>
              <a:gd name="connsiteX0" fmla="*/ 0 w 14661"/>
              <a:gd name="connsiteY0" fmla="*/ 10849 h 10916"/>
              <a:gd name="connsiteX1" fmla="*/ 2000 w 14661"/>
              <a:gd name="connsiteY1" fmla="*/ 849 h 10916"/>
              <a:gd name="connsiteX2" fmla="*/ 10000 w 14661"/>
              <a:gd name="connsiteY2" fmla="*/ 849 h 10916"/>
              <a:gd name="connsiteX3" fmla="*/ 13582 w 14661"/>
              <a:gd name="connsiteY3" fmla="*/ 12 h 10916"/>
              <a:gd name="connsiteX4" fmla="*/ 14519 w 14661"/>
              <a:gd name="connsiteY4" fmla="*/ 1580 h 10916"/>
              <a:gd name="connsiteX5" fmla="*/ 10439 w 14661"/>
              <a:gd name="connsiteY5" fmla="*/ 1510 h 10916"/>
              <a:gd name="connsiteX6" fmla="*/ 9198 w 14661"/>
              <a:gd name="connsiteY6" fmla="*/ 10766 h 10916"/>
              <a:gd name="connsiteX7" fmla="*/ 0 w 14661"/>
              <a:gd name="connsiteY7" fmla="*/ 10849 h 10916"/>
              <a:gd name="connsiteX0" fmla="*/ 0 w 14519"/>
              <a:gd name="connsiteY0" fmla="*/ 10849 h 10916"/>
              <a:gd name="connsiteX1" fmla="*/ 2000 w 14519"/>
              <a:gd name="connsiteY1" fmla="*/ 849 h 10916"/>
              <a:gd name="connsiteX2" fmla="*/ 10000 w 14519"/>
              <a:gd name="connsiteY2" fmla="*/ 849 h 10916"/>
              <a:gd name="connsiteX3" fmla="*/ 13582 w 14519"/>
              <a:gd name="connsiteY3" fmla="*/ 12 h 10916"/>
              <a:gd name="connsiteX4" fmla="*/ 14519 w 14519"/>
              <a:gd name="connsiteY4" fmla="*/ 1580 h 10916"/>
              <a:gd name="connsiteX5" fmla="*/ 10439 w 14519"/>
              <a:gd name="connsiteY5" fmla="*/ 1510 h 10916"/>
              <a:gd name="connsiteX6" fmla="*/ 9198 w 14519"/>
              <a:gd name="connsiteY6" fmla="*/ 10766 h 10916"/>
              <a:gd name="connsiteX7" fmla="*/ 0 w 14519"/>
              <a:gd name="connsiteY7" fmla="*/ 10849 h 10916"/>
              <a:gd name="connsiteX0" fmla="*/ 0 w 14519"/>
              <a:gd name="connsiteY0" fmla="*/ 10849 h 10916"/>
              <a:gd name="connsiteX1" fmla="*/ 2000 w 14519"/>
              <a:gd name="connsiteY1" fmla="*/ 849 h 10916"/>
              <a:gd name="connsiteX2" fmla="*/ 10000 w 14519"/>
              <a:gd name="connsiteY2" fmla="*/ 849 h 10916"/>
              <a:gd name="connsiteX3" fmla="*/ 13582 w 14519"/>
              <a:gd name="connsiteY3" fmla="*/ 12 h 10916"/>
              <a:gd name="connsiteX4" fmla="*/ 14519 w 14519"/>
              <a:gd name="connsiteY4" fmla="*/ 1580 h 10916"/>
              <a:gd name="connsiteX5" fmla="*/ 10439 w 14519"/>
              <a:gd name="connsiteY5" fmla="*/ 1510 h 10916"/>
              <a:gd name="connsiteX6" fmla="*/ 9198 w 14519"/>
              <a:gd name="connsiteY6" fmla="*/ 10766 h 10916"/>
              <a:gd name="connsiteX7" fmla="*/ 0 w 14519"/>
              <a:gd name="connsiteY7" fmla="*/ 10849 h 10916"/>
              <a:gd name="connsiteX0" fmla="*/ 0 w 14519"/>
              <a:gd name="connsiteY0" fmla="*/ 10837 h 10904"/>
              <a:gd name="connsiteX1" fmla="*/ 2000 w 14519"/>
              <a:gd name="connsiteY1" fmla="*/ 837 h 10904"/>
              <a:gd name="connsiteX2" fmla="*/ 10000 w 14519"/>
              <a:gd name="connsiteY2" fmla="*/ 837 h 10904"/>
              <a:gd name="connsiteX3" fmla="*/ 13582 w 14519"/>
              <a:gd name="connsiteY3" fmla="*/ 0 h 10904"/>
              <a:gd name="connsiteX4" fmla="*/ 14519 w 14519"/>
              <a:gd name="connsiteY4" fmla="*/ 1568 h 10904"/>
              <a:gd name="connsiteX5" fmla="*/ 10439 w 14519"/>
              <a:gd name="connsiteY5" fmla="*/ 1498 h 10904"/>
              <a:gd name="connsiteX6" fmla="*/ 9198 w 14519"/>
              <a:gd name="connsiteY6" fmla="*/ 10754 h 10904"/>
              <a:gd name="connsiteX7" fmla="*/ 0 w 14519"/>
              <a:gd name="connsiteY7" fmla="*/ 10837 h 10904"/>
              <a:gd name="connsiteX0" fmla="*/ 0 w 14728"/>
              <a:gd name="connsiteY0" fmla="*/ 10320 h 10387"/>
              <a:gd name="connsiteX1" fmla="*/ 2000 w 14728"/>
              <a:gd name="connsiteY1" fmla="*/ 320 h 10387"/>
              <a:gd name="connsiteX2" fmla="*/ 10000 w 14728"/>
              <a:gd name="connsiteY2" fmla="*/ 320 h 10387"/>
              <a:gd name="connsiteX3" fmla="*/ 14344 w 14728"/>
              <a:gd name="connsiteY3" fmla="*/ 0 h 10387"/>
              <a:gd name="connsiteX4" fmla="*/ 14519 w 14728"/>
              <a:gd name="connsiteY4" fmla="*/ 1051 h 10387"/>
              <a:gd name="connsiteX5" fmla="*/ 10439 w 14728"/>
              <a:gd name="connsiteY5" fmla="*/ 981 h 10387"/>
              <a:gd name="connsiteX6" fmla="*/ 9198 w 14728"/>
              <a:gd name="connsiteY6" fmla="*/ 10237 h 10387"/>
              <a:gd name="connsiteX7" fmla="*/ 0 w 14728"/>
              <a:gd name="connsiteY7" fmla="*/ 10320 h 10387"/>
              <a:gd name="connsiteX0" fmla="*/ 0 w 14519"/>
              <a:gd name="connsiteY0" fmla="*/ 10320 h 10387"/>
              <a:gd name="connsiteX1" fmla="*/ 2000 w 14519"/>
              <a:gd name="connsiteY1" fmla="*/ 320 h 10387"/>
              <a:gd name="connsiteX2" fmla="*/ 10000 w 14519"/>
              <a:gd name="connsiteY2" fmla="*/ 320 h 10387"/>
              <a:gd name="connsiteX3" fmla="*/ 14344 w 14519"/>
              <a:gd name="connsiteY3" fmla="*/ 0 h 10387"/>
              <a:gd name="connsiteX4" fmla="*/ 14519 w 14519"/>
              <a:gd name="connsiteY4" fmla="*/ 1051 h 10387"/>
              <a:gd name="connsiteX5" fmla="*/ 10439 w 14519"/>
              <a:gd name="connsiteY5" fmla="*/ 981 h 10387"/>
              <a:gd name="connsiteX6" fmla="*/ 9198 w 14519"/>
              <a:gd name="connsiteY6" fmla="*/ 10237 h 10387"/>
              <a:gd name="connsiteX7" fmla="*/ 0 w 14519"/>
              <a:gd name="connsiteY7" fmla="*/ 10320 h 10387"/>
              <a:gd name="connsiteX0" fmla="*/ 0 w 14519"/>
              <a:gd name="connsiteY0" fmla="*/ 10020 h 10087"/>
              <a:gd name="connsiteX1" fmla="*/ 2000 w 14519"/>
              <a:gd name="connsiteY1" fmla="*/ 20 h 10087"/>
              <a:gd name="connsiteX2" fmla="*/ 10000 w 14519"/>
              <a:gd name="connsiteY2" fmla="*/ 20 h 10087"/>
              <a:gd name="connsiteX3" fmla="*/ 13926 w 14519"/>
              <a:gd name="connsiteY3" fmla="*/ 139 h 10087"/>
              <a:gd name="connsiteX4" fmla="*/ 14519 w 14519"/>
              <a:gd name="connsiteY4" fmla="*/ 751 h 10087"/>
              <a:gd name="connsiteX5" fmla="*/ 10439 w 14519"/>
              <a:gd name="connsiteY5" fmla="*/ 681 h 10087"/>
              <a:gd name="connsiteX6" fmla="*/ 9198 w 14519"/>
              <a:gd name="connsiteY6" fmla="*/ 9937 h 10087"/>
              <a:gd name="connsiteX7" fmla="*/ 0 w 14519"/>
              <a:gd name="connsiteY7" fmla="*/ 10020 h 10087"/>
              <a:gd name="connsiteX0" fmla="*/ 0 w 14519"/>
              <a:gd name="connsiteY0" fmla="*/ 10033 h 10100"/>
              <a:gd name="connsiteX1" fmla="*/ 2000 w 14519"/>
              <a:gd name="connsiteY1" fmla="*/ 33 h 10100"/>
              <a:gd name="connsiteX2" fmla="*/ 10000 w 14519"/>
              <a:gd name="connsiteY2" fmla="*/ 33 h 10100"/>
              <a:gd name="connsiteX3" fmla="*/ 13926 w 14519"/>
              <a:gd name="connsiteY3" fmla="*/ 152 h 10100"/>
              <a:gd name="connsiteX4" fmla="*/ 14519 w 14519"/>
              <a:gd name="connsiteY4" fmla="*/ 764 h 10100"/>
              <a:gd name="connsiteX5" fmla="*/ 10439 w 14519"/>
              <a:gd name="connsiteY5" fmla="*/ 694 h 10100"/>
              <a:gd name="connsiteX6" fmla="*/ 9198 w 14519"/>
              <a:gd name="connsiteY6" fmla="*/ 9950 h 10100"/>
              <a:gd name="connsiteX7" fmla="*/ 0 w 14519"/>
              <a:gd name="connsiteY7" fmla="*/ 10033 h 10100"/>
              <a:gd name="connsiteX0" fmla="*/ 0 w 14519"/>
              <a:gd name="connsiteY0" fmla="*/ 10062 h 10129"/>
              <a:gd name="connsiteX1" fmla="*/ 2000 w 14519"/>
              <a:gd name="connsiteY1" fmla="*/ 62 h 10129"/>
              <a:gd name="connsiteX2" fmla="*/ 10000 w 14519"/>
              <a:gd name="connsiteY2" fmla="*/ 62 h 10129"/>
              <a:gd name="connsiteX3" fmla="*/ 13742 w 14519"/>
              <a:gd name="connsiteY3" fmla="*/ 0 h 10129"/>
              <a:gd name="connsiteX4" fmla="*/ 14519 w 14519"/>
              <a:gd name="connsiteY4" fmla="*/ 793 h 10129"/>
              <a:gd name="connsiteX5" fmla="*/ 10439 w 14519"/>
              <a:gd name="connsiteY5" fmla="*/ 723 h 10129"/>
              <a:gd name="connsiteX6" fmla="*/ 9198 w 14519"/>
              <a:gd name="connsiteY6" fmla="*/ 9979 h 10129"/>
              <a:gd name="connsiteX7" fmla="*/ 0 w 14519"/>
              <a:gd name="connsiteY7" fmla="*/ 10062 h 10129"/>
              <a:gd name="connsiteX0" fmla="*/ 0 w 14519"/>
              <a:gd name="connsiteY0" fmla="*/ 10062 h 10129"/>
              <a:gd name="connsiteX1" fmla="*/ 2000 w 14519"/>
              <a:gd name="connsiteY1" fmla="*/ 62 h 10129"/>
              <a:gd name="connsiteX2" fmla="*/ 10000 w 14519"/>
              <a:gd name="connsiteY2" fmla="*/ 62 h 10129"/>
              <a:gd name="connsiteX3" fmla="*/ 13742 w 14519"/>
              <a:gd name="connsiteY3" fmla="*/ 0 h 10129"/>
              <a:gd name="connsiteX4" fmla="*/ 14519 w 14519"/>
              <a:gd name="connsiteY4" fmla="*/ 793 h 10129"/>
              <a:gd name="connsiteX5" fmla="*/ 10439 w 14519"/>
              <a:gd name="connsiteY5" fmla="*/ 723 h 10129"/>
              <a:gd name="connsiteX6" fmla="*/ 9198 w 14519"/>
              <a:gd name="connsiteY6" fmla="*/ 9979 h 10129"/>
              <a:gd name="connsiteX7" fmla="*/ 0 w 14519"/>
              <a:gd name="connsiteY7" fmla="*/ 10062 h 10129"/>
              <a:gd name="connsiteX0" fmla="*/ 0 w 13824"/>
              <a:gd name="connsiteY0" fmla="*/ 10062 h 10129"/>
              <a:gd name="connsiteX1" fmla="*/ 2000 w 13824"/>
              <a:gd name="connsiteY1" fmla="*/ 62 h 10129"/>
              <a:gd name="connsiteX2" fmla="*/ 10000 w 13824"/>
              <a:gd name="connsiteY2" fmla="*/ 62 h 10129"/>
              <a:gd name="connsiteX3" fmla="*/ 13742 w 13824"/>
              <a:gd name="connsiteY3" fmla="*/ 0 h 10129"/>
              <a:gd name="connsiteX4" fmla="*/ 13824 w 13824"/>
              <a:gd name="connsiteY4" fmla="*/ 1516 h 10129"/>
              <a:gd name="connsiteX5" fmla="*/ 10439 w 13824"/>
              <a:gd name="connsiteY5" fmla="*/ 723 h 10129"/>
              <a:gd name="connsiteX6" fmla="*/ 9198 w 13824"/>
              <a:gd name="connsiteY6" fmla="*/ 9979 h 10129"/>
              <a:gd name="connsiteX7" fmla="*/ 0 w 13824"/>
              <a:gd name="connsiteY7" fmla="*/ 10062 h 10129"/>
              <a:gd name="connsiteX0" fmla="*/ 0 w 13742"/>
              <a:gd name="connsiteY0" fmla="*/ 10062 h 10129"/>
              <a:gd name="connsiteX1" fmla="*/ 2000 w 13742"/>
              <a:gd name="connsiteY1" fmla="*/ 62 h 10129"/>
              <a:gd name="connsiteX2" fmla="*/ 10000 w 13742"/>
              <a:gd name="connsiteY2" fmla="*/ 62 h 10129"/>
              <a:gd name="connsiteX3" fmla="*/ 13742 w 13742"/>
              <a:gd name="connsiteY3" fmla="*/ 0 h 10129"/>
              <a:gd name="connsiteX4" fmla="*/ 13720 w 13742"/>
              <a:gd name="connsiteY4" fmla="*/ 870 h 10129"/>
              <a:gd name="connsiteX5" fmla="*/ 10439 w 13742"/>
              <a:gd name="connsiteY5" fmla="*/ 723 h 10129"/>
              <a:gd name="connsiteX6" fmla="*/ 9198 w 13742"/>
              <a:gd name="connsiteY6" fmla="*/ 9979 h 10129"/>
              <a:gd name="connsiteX7" fmla="*/ 0 w 13742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896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689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689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703"/>
              <a:gd name="connsiteX1" fmla="*/ 2000 w 13757"/>
              <a:gd name="connsiteY1" fmla="*/ 62 h 10703"/>
              <a:gd name="connsiteX2" fmla="*/ 10000 w 13757"/>
              <a:gd name="connsiteY2" fmla="*/ 62 h 10703"/>
              <a:gd name="connsiteX3" fmla="*/ 13742 w 13757"/>
              <a:gd name="connsiteY3" fmla="*/ 0 h 10703"/>
              <a:gd name="connsiteX4" fmla="*/ 13757 w 13757"/>
              <a:gd name="connsiteY4" fmla="*/ 689 h 10703"/>
              <a:gd name="connsiteX5" fmla="*/ 10516 w 13757"/>
              <a:gd name="connsiteY5" fmla="*/ 671 h 10703"/>
              <a:gd name="connsiteX6" fmla="*/ 9198 w 13757"/>
              <a:gd name="connsiteY6" fmla="*/ 9979 h 10703"/>
              <a:gd name="connsiteX7" fmla="*/ 0 w 13757"/>
              <a:gd name="connsiteY7" fmla="*/ 10062 h 10703"/>
              <a:gd name="connsiteX0" fmla="*/ 0 w 13757"/>
              <a:gd name="connsiteY0" fmla="*/ 10062 h 10947"/>
              <a:gd name="connsiteX1" fmla="*/ 2000 w 13757"/>
              <a:gd name="connsiteY1" fmla="*/ 62 h 10947"/>
              <a:gd name="connsiteX2" fmla="*/ 10000 w 13757"/>
              <a:gd name="connsiteY2" fmla="*/ 62 h 10947"/>
              <a:gd name="connsiteX3" fmla="*/ 13742 w 13757"/>
              <a:gd name="connsiteY3" fmla="*/ 0 h 10947"/>
              <a:gd name="connsiteX4" fmla="*/ 13757 w 13757"/>
              <a:gd name="connsiteY4" fmla="*/ 689 h 10947"/>
              <a:gd name="connsiteX5" fmla="*/ 10516 w 13757"/>
              <a:gd name="connsiteY5" fmla="*/ 671 h 10947"/>
              <a:gd name="connsiteX6" fmla="*/ 9198 w 13757"/>
              <a:gd name="connsiteY6" fmla="*/ 9979 h 10947"/>
              <a:gd name="connsiteX7" fmla="*/ 0 w 13757"/>
              <a:gd name="connsiteY7" fmla="*/ 10062 h 10947"/>
              <a:gd name="connsiteX0" fmla="*/ 0 w 13757"/>
              <a:gd name="connsiteY0" fmla="*/ 10062 h 10764"/>
              <a:gd name="connsiteX1" fmla="*/ 2000 w 13757"/>
              <a:gd name="connsiteY1" fmla="*/ 62 h 10764"/>
              <a:gd name="connsiteX2" fmla="*/ 10000 w 13757"/>
              <a:gd name="connsiteY2" fmla="*/ 62 h 10764"/>
              <a:gd name="connsiteX3" fmla="*/ 13742 w 13757"/>
              <a:gd name="connsiteY3" fmla="*/ 0 h 10764"/>
              <a:gd name="connsiteX4" fmla="*/ 13757 w 13757"/>
              <a:gd name="connsiteY4" fmla="*/ 689 h 10764"/>
              <a:gd name="connsiteX5" fmla="*/ 10516 w 13757"/>
              <a:gd name="connsiteY5" fmla="*/ 671 h 10764"/>
              <a:gd name="connsiteX6" fmla="*/ 9198 w 13757"/>
              <a:gd name="connsiteY6" fmla="*/ 9979 h 10764"/>
              <a:gd name="connsiteX7" fmla="*/ 0 w 13757"/>
              <a:gd name="connsiteY7" fmla="*/ 10062 h 10764"/>
              <a:gd name="connsiteX0" fmla="*/ 0 w 13757"/>
              <a:gd name="connsiteY0" fmla="*/ 10062 h 10520"/>
              <a:gd name="connsiteX1" fmla="*/ 2000 w 13757"/>
              <a:gd name="connsiteY1" fmla="*/ 62 h 10520"/>
              <a:gd name="connsiteX2" fmla="*/ 10000 w 13757"/>
              <a:gd name="connsiteY2" fmla="*/ 62 h 10520"/>
              <a:gd name="connsiteX3" fmla="*/ 13742 w 13757"/>
              <a:gd name="connsiteY3" fmla="*/ 0 h 10520"/>
              <a:gd name="connsiteX4" fmla="*/ 13757 w 13757"/>
              <a:gd name="connsiteY4" fmla="*/ 689 h 10520"/>
              <a:gd name="connsiteX5" fmla="*/ 10516 w 13757"/>
              <a:gd name="connsiteY5" fmla="*/ 671 h 10520"/>
              <a:gd name="connsiteX6" fmla="*/ 9198 w 13757"/>
              <a:gd name="connsiteY6" fmla="*/ 9979 h 10520"/>
              <a:gd name="connsiteX7" fmla="*/ 0 w 13757"/>
              <a:gd name="connsiteY7" fmla="*/ 10062 h 10520"/>
              <a:gd name="connsiteX0" fmla="*/ 0 w 13757"/>
              <a:gd name="connsiteY0" fmla="*/ 10062 h 10459"/>
              <a:gd name="connsiteX1" fmla="*/ 2000 w 13757"/>
              <a:gd name="connsiteY1" fmla="*/ 62 h 10459"/>
              <a:gd name="connsiteX2" fmla="*/ 10000 w 13757"/>
              <a:gd name="connsiteY2" fmla="*/ 62 h 10459"/>
              <a:gd name="connsiteX3" fmla="*/ 13742 w 13757"/>
              <a:gd name="connsiteY3" fmla="*/ 0 h 10459"/>
              <a:gd name="connsiteX4" fmla="*/ 13757 w 13757"/>
              <a:gd name="connsiteY4" fmla="*/ 689 h 10459"/>
              <a:gd name="connsiteX5" fmla="*/ 10516 w 13757"/>
              <a:gd name="connsiteY5" fmla="*/ 671 h 10459"/>
              <a:gd name="connsiteX6" fmla="*/ 9198 w 13757"/>
              <a:gd name="connsiteY6" fmla="*/ 9979 h 10459"/>
              <a:gd name="connsiteX7" fmla="*/ 0 w 13757"/>
              <a:gd name="connsiteY7" fmla="*/ 10062 h 10459"/>
              <a:gd name="connsiteX0" fmla="*/ 0 w 13757"/>
              <a:gd name="connsiteY0" fmla="*/ 10062 h 10276"/>
              <a:gd name="connsiteX1" fmla="*/ 2000 w 13757"/>
              <a:gd name="connsiteY1" fmla="*/ 62 h 10276"/>
              <a:gd name="connsiteX2" fmla="*/ 10000 w 13757"/>
              <a:gd name="connsiteY2" fmla="*/ 62 h 10276"/>
              <a:gd name="connsiteX3" fmla="*/ 13742 w 13757"/>
              <a:gd name="connsiteY3" fmla="*/ 0 h 10276"/>
              <a:gd name="connsiteX4" fmla="*/ 13757 w 13757"/>
              <a:gd name="connsiteY4" fmla="*/ 689 h 10276"/>
              <a:gd name="connsiteX5" fmla="*/ 10516 w 13757"/>
              <a:gd name="connsiteY5" fmla="*/ 671 h 10276"/>
              <a:gd name="connsiteX6" fmla="*/ 9198 w 13757"/>
              <a:gd name="connsiteY6" fmla="*/ 9979 h 10276"/>
              <a:gd name="connsiteX7" fmla="*/ 0 w 13757"/>
              <a:gd name="connsiteY7" fmla="*/ 10062 h 10276"/>
              <a:gd name="connsiteX0" fmla="*/ 0 w 13757"/>
              <a:gd name="connsiteY0" fmla="*/ 10062 h 10276"/>
              <a:gd name="connsiteX1" fmla="*/ 2000 w 13757"/>
              <a:gd name="connsiteY1" fmla="*/ 62 h 10276"/>
              <a:gd name="connsiteX2" fmla="*/ 10000 w 13757"/>
              <a:gd name="connsiteY2" fmla="*/ 62 h 10276"/>
              <a:gd name="connsiteX3" fmla="*/ 13742 w 13757"/>
              <a:gd name="connsiteY3" fmla="*/ 0 h 10276"/>
              <a:gd name="connsiteX4" fmla="*/ 13757 w 13757"/>
              <a:gd name="connsiteY4" fmla="*/ 689 h 10276"/>
              <a:gd name="connsiteX5" fmla="*/ 10516 w 13757"/>
              <a:gd name="connsiteY5" fmla="*/ 671 h 10276"/>
              <a:gd name="connsiteX6" fmla="*/ 9198 w 13757"/>
              <a:gd name="connsiteY6" fmla="*/ 9979 h 10276"/>
              <a:gd name="connsiteX7" fmla="*/ 0 w 13757"/>
              <a:gd name="connsiteY7" fmla="*/ 10062 h 10276"/>
              <a:gd name="connsiteX0" fmla="*/ 0 w 13757"/>
              <a:gd name="connsiteY0" fmla="*/ 10062 h 10065"/>
              <a:gd name="connsiteX1" fmla="*/ 2000 w 13757"/>
              <a:gd name="connsiteY1" fmla="*/ 62 h 10065"/>
              <a:gd name="connsiteX2" fmla="*/ 10000 w 13757"/>
              <a:gd name="connsiteY2" fmla="*/ 62 h 10065"/>
              <a:gd name="connsiteX3" fmla="*/ 13742 w 13757"/>
              <a:gd name="connsiteY3" fmla="*/ 0 h 10065"/>
              <a:gd name="connsiteX4" fmla="*/ 13757 w 13757"/>
              <a:gd name="connsiteY4" fmla="*/ 689 h 10065"/>
              <a:gd name="connsiteX5" fmla="*/ 10516 w 13757"/>
              <a:gd name="connsiteY5" fmla="*/ 671 h 10065"/>
              <a:gd name="connsiteX6" fmla="*/ 9198 w 13757"/>
              <a:gd name="connsiteY6" fmla="*/ 9979 h 10065"/>
              <a:gd name="connsiteX7" fmla="*/ 0 w 13757"/>
              <a:gd name="connsiteY7" fmla="*/ 10062 h 10065"/>
              <a:gd name="connsiteX0" fmla="*/ 0 w 13757"/>
              <a:gd name="connsiteY0" fmla="*/ 10062 h 10065"/>
              <a:gd name="connsiteX1" fmla="*/ 2000 w 13757"/>
              <a:gd name="connsiteY1" fmla="*/ 62 h 10065"/>
              <a:gd name="connsiteX2" fmla="*/ 10000 w 13757"/>
              <a:gd name="connsiteY2" fmla="*/ 62 h 10065"/>
              <a:gd name="connsiteX3" fmla="*/ 13742 w 13757"/>
              <a:gd name="connsiteY3" fmla="*/ 0 h 10065"/>
              <a:gd name="connsiteX4" fmla="*/ 13757 w 13757"/>
              <a:gd name="connsiteY4" fmla="*/ 689 h 10065"/>
              <a:gd name="connsiteX5" fmla="*/ 10516 w 13757"/>
              <a:gd name="connsiteY5" fmla="*/ 671 h 10065"/>
              <a:gd name="connsiteX6" fmla="*/ 9198 w 13757"/>
              <a:gd name="connsiteY6" fmla="*/ 9979 h 10065"/>
              <a:gd name="connsiteX7" fmla="*/ 0 w 13757"/>
              <a:gd name="connsiteY7" fmla="*/ 10062 h 10065"/>
              <a:gd name="connsiteX0" fmla="*/ 0 w 13757"/>
              <a:gd name="connsiteY0" fmla="*/ 10062 h 10070"/>
              <a:gd name="connsiteX1" fmla="*/ 2000 w 13757"/>
              <a:gd name="connsiteY1" fmla="*/ 62 h 10070"/>
              <a:gd name="connsiteX2" fmla="*/ 10000 w 13757"/>
              <a:gd name="connsiteY2" fmla="*/ 62 h 10070"/>
              <a:gd name="connsiteX3" fmla="*/ 13742 w 13757"/>
              <a:gd name="connsiteY3" fmla="*/ 0 h 10070"/>
              <a:gd name="connsiteX4" fmla="*/ 13757 w 13757"/>
              <a:gd name="connsiteY4" fmla="*/ 689 h 10070"/>
              <a:gd name="connsiteX5" fmla="*/ 10516 w 13757"/>
              <a:gd name="connsiteY5" fmla="*/ 671 h 10070"/>
              <a:gd name="connsiteX6" fmla="*/ 9198 w 13757"/>
              <a:gd name="connsiteY6" fmla="*/ 9979 h 10070"/>
              <a:gd name="connsiteX7" fmla="*/ 0 w 13757"/>
              <a:gd name="connsiteY7" fmla="*/ 10062 h 10070"/>
              <a:gd name="connsiteX0" fmla="*/ 0 w 13757"/>
              <a:gd name="connsiteY0" fmla="*/ 10062 h 10070"/>
              <a:gd name="connsiteX1" fmla="*/ 122 w 13757"/>
              <a:gd name="connsiteY1" fmla="*/ 10 h 10070"/>
              <a:gd name="connsiteX2" fmla="*/ 10000 w 13757"/>
              <a:gd name="connsiteY2" fmla="*/ 62 h 10070"/>
              <a:gd name="connsiteX3" fmla="*/ 13742 w 13757"/>
              <a:gd name="connsiteY3" fmla="*/ 0 h 10070"/>
              <a:gd name="connsiteX4" fmla="*/ 13757 w 13757"/>
              <a:gd name="connsiteY4" fmla="*/ 689 h 10070"/>
              <a:gd name="connsiteX5" fmla="*/ 10516 w 13757"/>
              <a:gd name="connsiteY5" fmla="*/ 671 h 10070"/>
              <a:gd name="connsiteX6" fmla="*/ 9198 w 13757"/>
              <a:gd name="connsiteY6" fmla="*/ 9979 h 10070"/>
              <a:gd name="connsiteX7" fmla="*/ 0 w 13757"/>
              <a:gd name="connsiteY7" fmla="*/ 10062 h 10070"/>
              <a:gd name="connsiteX0" fmla="*/ 0 w 15248"/>
              <a:gd name="connsiteY0" fmla="*/ 10010 h 10685"/>
              <a:gd name="connsiteX1" fmla="*/ 1613 w 15248"/>
              <a:gd name="connsiteY1" fmla="*/ 10 h 10685"/>
              <a:gd name="connsiteX2" fmla="*/ 11491 w 15248"/>
              <a:gd name="connsiteY2" fmla="*/ 62 h 10685"/>
              <a:gd name="connsiteX3" fmla="*/ 15233 w 15248"/>
              <a:gd name="connsiteY3" fmla="*/ 0 h 10685"/>
              <a:gd name="connsiteX4" fmla="*/ 15248 w 15248"/>
              <a:gd name="connsiteY4" fmla="*/ 689 h 10685"/>
              <a:gd name="connsiteX5" fmla="*/ 12007 w 15248"/>
              <a:gd name="connsiteY5" fmla="*/ 671 h 10685"/>
              <a:gd name="connsiteX6" fmla="*/ 10689 w 15248"/>
              <a:gd name="connsiteY6" fmla="*/ 9979 h 10685"/>
              <a:gd name="connsiteX7" fmla="*/ 0 w 15248"/>
              <a:gd name="connsiteY7" fmla="*/ 10010 h 10685"/>
              <a:gd name="connsiteX0" fmla="*/ 813 w 16061"/>
              <a:gd name="connsiteY0" fmla="*/ 10010 h 10685"/>
              <a:gd name="connsiteX1" fmla="*/ 928 w 16061"/>
              <a:gd name="connsiteY1" fmla="*/ 8437 h 10685"/>
              <a:gd name="connsiteX2" fmla="*/ 2426 w 16061"/>
              <a:gd name="connsiteY2" fmla="*/ 10 h 10685"/>
              <a:gd name="connsiteX3" fmla="*/ 12304 w 16061"/>
              <a:gd name="connsiteY3" fmla="*/ 62 h 10685"/>
              <a:gd name="connsiteX4" fmla="*/ 16046 w 16061"/>
              <a:gd name="connsiteY4" fmla="*/ 0 h 10685"/>
              <a:gd name="connsiteX5" fmla="*/ 16061 w 16061"/>
              <a:gd name="connsiteY5" fmla="*/ 689 h 10685"/>
              <a:gd name="connsiteX6" fmla="*/ 12820 w 16061"/>
              <a:gd name="connsiteY6" fmla="*/ 671 h 10685"/>
              <a:gd name="connsiteX7" fmla="*/ 11502 w 16061"/>
              <a:gd name="connsiteY7" fmla="*/ 9979 h 10685"/>
              <a:gd name="connsiteX8" fmla="*/ 813 w 16061"/>
              <a:gd name="connsiteY8" fmla="*/ 10010 h 10685"/>
              <a:gd name="connsiteX0" fmla="*/ 752 w 16000"/>
              <a:gd name="connsiteY0" fmla="*/ 10010 h 10685"/>
              <a:gd name="connsiteX1" fmla="*/ 867 w 16000"/>
              <a:gd name="connsiteY1" fmla="*/ 8437 h 10685"/>
              <a:gd name="connsiteX2" fmla="*/ 2365 w 16000"/>
              <a:gd name="connsiteY2" fmla="*/ 10 h 10685"/>
              <a:gd name="connsiteX3" fmla="*/ 12243 w 16000"/>
              <a:gd name="connsiteY3" fmla="*/ 62 h 10685"/>
              <a:gd name="connsiteX4" fmla="*/ 15985 w 16000"/>
              <a:gd name="connsiteY4" fmla="*/ 0 h 10685"/>
              <a:gd name="connsiteX5" fmla="*/ 16000 w 16000"/>
              <a:gd name="connsiteY5" fmla="*/ 689 h 10685"/>
              <a:gd name="connsiteX6" fmla="*/ 12759 w 16000"/>
              <a:gd name="connsiteY6" fmla="*/ 671 h 10685"/>
              <a:gd name="connsiteX7" fmla="*/ 11441 w 16000"/>
              <a:gd name="connsiteY7" fmla="*/ 9979 h 10685"/>
              <a:gd name="connsiteX8" fmla="*/ 752 w 16000"/>
              <a:gd name="connsiteY8" fmla="*/ 10010 h 10685"/>
              <a:gd name="connsiteX0" fmla="*/ 1 w 15249"/>
              <a:gd name="connsiteY0" fmla="*/ 10010 h 10685"/>
              <a:gd name="connsiteX1" fmla="*/ 116 w 15249"/>
              <a:gd name="connsiteY1" fmla="*/ 8437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 w 15249"/>
              <a:gd name="connsiteY0" fmla="*/ 10010 h 10685"/>
              <a:gd name="connsiteX1" fmla="*/ 9 w 15249"/>
              <a:gd name="connsiteY1" fmla="*/ 9315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 w 15249"/>
              <a:gd name="connsiteY0" fmla="*/ 10010 h 10685"/>
              <a:gd name="connsiteX1" fmla="*/ 9 w 15249"/>
              <a:gd name="connsiteY1" fmla="*/ 9315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010"/>
              <a:gd name="connsiteX1" fmla="*/ 0 w 15263"/>
              <a:gd name="connsiteY1" fmla="*/ 9315 h 10010"/>
              <a:gd name="connsiteX2" fmla="*/ 1628 w 15263"/>
              <a:gd name="connsiteY2" fmla="*/ 10 h 10010"/>
              <a:gd name="connsiteX3" fmla="*/ 11506 w 15263"/>
              <a:gd name="connsiteY3" fmla="*/ 62 h 10010"/>
              <a:gd name="connsiteX4" fmla="*/ 15248 w 15263"/>
              <a:gd name="connsiteY4" fmla="*/ 0 h 10010"/>
              <a:gd name="connsiteX5" fmla="*/ 15263 w 15263"/>
              <a:gd name="connsiteY5" fmla="*/ 689 h 10010"/>
              <a:gd name="connsiteX6" fmla="*/ 12022 w 15263"/>
              <a:gd name="connsiteY6" fmla="*/ 671 h 10010"/>
              <a:gd name="connsiteX7" fmla="*/ 10704 w 15263"/>
              <a:gd name="connsiteY7" fmla="*/ 9979 h 10010"/>
              <a:gd name="connsiteX8" fmla="*/ 15 w 15263"/>
              <a:gd name="connsiteY8" fmla="*/ 10010 h 10010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63" h="10012">
                <a:moveTo>
                  <a:pt x="15" y="10010"/>
                </a:moveTo>
                <a:cubicBezTo>
                  <a:pt x="13" y="9236"/>
                  <a:pt x="-5" y="9734"/>
                  <a:pt x="0" y="9315"/>
                </a:cubicBezTo>
                <a:cubicBezTo>
                  <a:pt x="1116" y="9004"/>
                  <a:pt x="875" y="-15"/>
                  <a:pt x="1628" y="10"/>
                </a:cubicBezTo>
                <a:lnTo>
                  <a:pt x="11506" y="62"/>
                </a:lnTo>
                <a:cubicBezTo>
                  <a:pt x="13436" y="-77"/>
                  <a:pt x="13454" y="82"/>
                  <a:pt x="15248" y="0"/>
                </a:cubicBezTo>
                <a:cubicBezTo>
                  <a:pt x="15259" y="484"/>
                  <a:pt x="15253" y="45"/>
                  <a:pt x="15263" y="689"/>
                </a:cubicBezTo>
                <a:cubicBezTo>
                  <a:pt x="13905" y="604"/>
                  <a:pt x="13382" y="694"/>
                  <a:pt x="12022" y="671"/>
                </a:cubicBezTo>
                <a:cubicBezTo>
                  <a:pt x="11306" y="2025"/>
                  <a:pt x="11386" y="8045"/>
                  <a:pt x="10704" y="9979"/>
                </a:cubicBezTo>
                <a:cubicBezTo>
                  <a:pt x="8703" y="9779"/>
                  <a:pt x="3120" y="10038"/>
                  <a:pt x="15" y="10010"/>
                </a:cubicBezTo>
                <a:close/>
              </a:path>
            </a:pathLst>
          </a:cu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562" eaLnBrk="1" hangingPunct="1">
              <a:defRPr/>
            </a:pP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ru-RU" sz="1050" b="1" dirty="0" smtClean="0">
                <a:solidFill>
                  <a:prstClr val="white"/>
                </a:solidFill>
                <a:ea typeface="Verdana" pitchFamily="34" charset="0"/>
                <a:cs typeface="Arial" panose="020B0604020202020204" pitchFamily="34" charset="0"/>
              </a:rPr>
              <a:t>Об обеспечении  безопасности дорожного  движения на железнодорожных переезда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-14288" y="-19050"/>
            <a:ext cx="3552826" cy="16779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56676" name="Прямоугольник 19"/>
          <p:cNvSpPr>
            <a:spLocks noChangeArrowheads="1"/>
          </p:cNvSpPr>
          <p:nvPr/>
        </p:nvSpPr>
        <p:spPr bwMode="auto">
          <a:xfrm>
            <a:off x="98425" y="4051300"/>
            <a:ext cx="7848600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06425" eaLnBrk="1" hangingPunct="1"/>
            <a:endParaRPr lang="ru-RU" altLang="ru-RU" sz="1400" b="1" dirty="0" smtClean="0">
              <a:latin typeface="Verdana" pitchFamily="34" charset="0"/>
              <a:ea typeface="Verdana" pitchFamily="34" charset="0"/>
              <a:cs typeface="Arial" pitchFamily="34" charset="0"/>
            </a:endParaRPr>
          </a:p>
          <a:p>
            <a:pPr defTabSz="606425" eaLnBrk="1" hangingPunct="1"/>
            <a:r>
              <a:rPr lang="ru-RU" altLang="ru-RU" sz="1400" b="1" dirty="0" smtClean="0">
                <a:latin typeface="Verdana" pitchFamily="34" charset="0"/>
                <a:ea typeface="Verdana" pitchFamily="34" charset="0"/>
                <a:cs typeface="Arial" pitchFamily="34" charset="0"/>
              </a:rPr>
              <a:t>                                     </a:t>
            </a:r>
            <a:endParaRPr lang="ru-RU" altLang="ru-RU" sz="1400" b="1" dirty="0">
              <a:latin typeface="Verdana" pitchFamily="34" charset="0"/>
              <a:ea typeface="Verdana" pitchFamily="34" charset="0"/>
              <a:cs typeface="Arial" pitchFamily="34" charset="0"/>
            </a:endParaRPr>
          </a:p>
          <a:p>
            <a:pPr defTabSz="606425" eaLnBrk="1" hangingPunct="1"/>
            <a:r>
              <a:rPr lang="ru-RU" altLang="ru-RU" sz="1000" smtClean="0">
                <a:latin typeface="Verdana" pitchFamily="34" charset="0"/>
                <a:ea typeface="Verdana" pitchFamily="34" charset="0"/>
                <a:cs typeface="Arial" pitchFamily="34" charset="0"/>
              </a:rPr>
              <a:t>14</a:t>
            </a:r>
            <a:r>
              <a:rPr lang="ru-RU" altLang="ru-RU" sz="1000" smtClean="0">
                <a:latin typeface="Verdana" pitchFamily="34" charset="0"/>
                <a:ea typeface="Verdana" pitchFamily="34" charset="0"/>
                <a:cs typeface="Arial" pitchFamily="34" charset="0"/>
              </a:rPr>
              <a:t>.10.2024 </a:t>
            </a:r>
            <a:r>
              <a:rPr lang="ru-RU" altLang="ru-RU" sz="1000" dirty="0">
                <a:latin typeface="Verdana" pitchFamily="34" charset="0"/>
                <a:ea typeface="Verdana" pitchFamily="34" charset="0"/>
                <a:cs typeface="Arial" pitchFamily="34" charset="0"/>
              </a:rPr>
              <a:t>г.</a:t>
            </a:r>
          </a:p>
        </p:txBody>
      </p:sp>
      <p:grpSp>
        <p:nvGrpSpPr>
          <p:cNvPr id="2" name="Group 22"/>
          <p:cNvGrpSpPr>
            <a:grpSpLocks/>
          </p:cNvGrpSpPr>
          <p:nvPr/>
        </p:nvGrpSpPr>
        <p:grpSpPr bwMode="auto">
          <a:xfrm>
            <a:off x="1566863" y="-22225"/>
            <a:ext cx="5251450" cy="3462338"/>
            <a:chOff x="1867" y="-51"/>
            <a:chExt cx="3930" cy="3262"/>
          </a:xfrm>
        </p:grpSpPr>
        <p:pic>
          <p:nvPicPr>
            <p:cNvPr id="156687" name="Picture 33" descr="Титульный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67" y="-51"/>
              <a:ext cx="3930" cy="3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688" name="AutoShape 34" descr="вокзал copy"/>
            <p:cNvSpPr>
              <a:spLocks noChangeArrowheads="1"/>
            </p:cNvSpPr>
            <p:nvPr/>
          </p:nvSpPr>
          <p:spPr bwMode="auto">
            <a:xfrm>
              <a:off x="2473" y="1663"/>
              <a:ext cx="1012" cy="802"/>
            </a:xfrm>
            <a:prstGeom prst="parallelogram">
              <a:avLst>
                <a:gd name="adj" fmla="val 84707"/>
              </a:avLst>
            </a:prstGeom>
            <a:blipFill dpi="0" rotWithShape="1">
              <a:blip r:embed="rId4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" name="Freeform 12" descr="бпла1"/>
            <p:cNvSpPr>
              <a:spLocks/>
            </p:cNvSpPr>
            <p:nvPr/>
          </p:nvSpPr>
          <p:spPr bwMode="auto">
            <a:xfrm>
              <a:off x="2476" y="12"/>
              <a:ext cx="1011" cy="778"/>
            </a:xfrm>
            <a:custGeom>
              <a:avLst/>
              <a:gdLst>
                <a:gd name="T0" fmla="*/ 0 w 996"/>
                <a:gd name="T1" fmla="*/ 937 h 773"/>
                <a:gd name="T2" fmla="*/ 698 w 996"/>
                <a:gd name="T3" fmla="*/ 935 h 773"/>
                <a:gd name="T4" fmla="*/ 1515 w 996"/>
                <a:gd name="T5" fmla="*/ 3 h 773"/>
                <a:gd name="T6" fmla="*/ 1259 w 996"/>
                <a:gd name="T7" fmla="*/ 0 h 773"/>
                <a:gd name="T8" fmla="*/ 1192 w 996"/>
                <a:gd name="T9" fmla="*/ 0 h 773"/>
                <a:gd name="T10" fmla="*/ 1111 w 996"/>
                <a:gd name="T11" fmla="*/ 10 h 773"/>
                <a:gd name="T12" fmla="*/ 1040 w 996"/>
                <a:gd name="T13" fmla="*/ 22 h 773"/>
                <a:gd name="T14" fmla="*/ 975 w 996"/>
                <a:gd name="T15" fmla="*/ 36 h 773"/>
                <a:gd name="T16" fmla="*/ 910 w 996"/>
                <a:gd name="T17" fmla="*/ 51 h 773"/>
                <a:gd name="T18" fmla="*/ 853 w 996"/>
                <a:gd name="T19" fmla="*/ 70 h 773"/>
                <a:gd name="T20" fmla="*/ 809 w 996"/>
                <a:gd name="T21" fmla="*/ 114 h 773"/>
                <a:gd name="T22" fmla="*/ 764 w 996"/>
                <a:gd name="T23" fmla="*/ 134 h 773"/>
                <a:gd name="T24" fmla="*/ 712 w 996"/>
                <a:gd name="T25" fmla="*/ 170 h 773"/>
                <a:gd name="T26" fmla="*/ 637 w 996"/>
                <a:gd name="T27" fmla="*/ 215 h 773"/>
                <a:gd name="T28" fmla="*/ 586 w 996"/>
                <a:gd name="T29" fmla="*/ 270 h 773"/>
                <a:gd name="T30" fmla="*/ 0 w 996"/>
                <a:gd name="T31" fmla="*/ 937 h 7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96"/>
                <a:gd name="T49" fmla="*/ 0 h 773"/>
                <a:gd name="T50" fmla="*/ 996 w 996"/>
                <a:gd name="T51" fmla="*/ 773 h 77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96" h="773">
                  <a:moveTo>
                    <a:pt x="0" y="773"/>
                  </a:moveTo>
                  <a:lnTo>
                    <a:pt x="458" y="771"/>
                  </a:lnTo>
                  <a:lnTo>
                    <a:pt x="996" y="3"/>
                  </a:lnTo>
                  <a:lnTo>
                    <a:pt x="828" y="0"/>
                  </a:lnTo>
                  <a:lnTo>
                    <a:pt x="785" y="0"/>
                  </a:lnTo>
                  <a:lnTo>
                    <a:pt x="732" y="10"/>
                  </a:lnTo>
                  <a:lnTo>
                    <a:pt x="684" y="22"/>
                  </a:lnTo>
                  <a:lnTo>
                    <a:pt x="641" y="36"/>
                  </a:lnTo>
                  <a:lnTo>
                    <a:pt x="598" y="51"/>
                  </a:lnTo>
                  <a:lnTo>
                    <a:pt x="562" y="70"/>
                  </a:lnTo>
                  <a:lnTo>
                    <a:pt x="533" y="84"/>
                  </a:lnTo>
                  <a:lnTo>
                    <a:pt x="504" y="104"/>
                  </a:lnTo>
                  <a:lnTo>
                    <a:pt x="468" y="140"/>
                  </a:lnTo>
                  <a:lnTo>
                    <a:pt x="420" y="185"/>
                  </a:lnTo>
                  <a:lnTo>
                    <a:pt x="386" y="221"/>
                  </a:lnTo>
                  <a:lnTo>
                    <a:pt x="0" y="773"/>
                  </a:lnTo>
                  <a:close/>
                </a:path>
              </a:pathLst>
            </a:custGeom>
            <a:blipFill dpi="0"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solidFill>
                <a:schemeClr val="accent6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156690" name="Freeform 14" descr="Безымянный444"/>
            <p:cNvSpPr>
              <a:spLocks/>
            </p:cNvSpPr>
            <p:nvPr/>
          </p:nvSpPr>
          <p:spPr bwMode="auto">
            <a:xfrm>
              <a:off x="1912" y="1662"/>
              <a:ext cx="1053" cy="805"/>
            </a:xfrm>
            <a:custGeom>
              <a:avLst/>
              <a:gdLst>
                <a:gd name="T0" fmla="*/ 0 w 996"/>
                <a:gd name="T1" fmla="*/ 2948 h 773"/>
                <a:gd name="T2" fmla="*/ 2872 w 996"/>
                <a:gd name="T3" fmla="*/ 2943 h 773"/>
                <a:gd name="T4" fmla="*/ 6245 w 996"/>
                <a:gd name="T5" fmla="*/ 3 h 773"/>
                <a:gd name="T6" fmla="*/ 5190 w 996"/>
                <a:gd name="T7" fmla="*/ 0 h 773"/>
                <a:gd name="T8" fmla="*/ 4929 w 996"/>
                <a:gd name="T9" fmla="*/ 0 h 773"/>
                <a:gd name="T10" fmla="*/ 4586 w 996"/>
                <a:gd name="T11" fmla="*/ 10 h 773"/>
                <a:gd name="T12" fmla="*/ 4292 w 996"/>
                <a:gd name="T13" fmla="*/ 79 h 773"/>
                <a:gd name="T14" fmla="*/ 4017 w 996"/>
                <a:gd name="T15" fmla="*/ 140 h 773"/>
                <a:gd name="T16" fmla="*/ 3743 w 996"/>
                <a:gd name="T17" fmla="*/ 194 h 773"/>
                <a:gd name="T18" fmla="*/ 3516 w 996"/>
                <a:gd name="T19" fmla="*/ 268 h 773"/>
                <a:gd name="T20" fmla="*/ 3343 w 996"/>
                <a:gd name="T21" fmla="*/ 319 h 773"/>
                <a:gd name="T22" fmla="*/ 3162 w 996"/>
                <a:gd name="T23" fmla="*/ 394 h 773"/>
                <a:gd name="T24" fmla="*/ 2931 w 996"/>
                <a:gd name="T25" fmla="*/ 535 h 773"/>
                <a:gd name="T26" fmla="*/ 2629 w 996"/>
                <a:gd name="T27" fmla="*/ 709 h 773"/>
                <a:gd name="T28" fmla="*/ 2425 w 996"/>
                <a:gd name="T29" fmla="*/ 845 h 773"/>
                <a:gd name="T30" fmla="*/ 0 w 996"/>
                <a:gd name="T31" fmla="*/ 2948 h 7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96"/>
                <a:gd name="T49" fmla="*/ 0 h 773"/>
                <a:gd name="T50" fmla="*/ 996 w 996"/>
                <a:gd name="T51" fmla="*/ 773 h 77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96" h="773">
                  <a:moveTo>
                    <a:pt x="0" y="773"/>
                  </a:moveTo>
                  <a:lnTo>
                    <a:pt x="458" y="771"/>
                  </a:lnTo>
                  <a:lnTo>
                    <a:pt x="996" y="3"/>
                  </a:lnTo>
                  <a:lnTo>
                    <a:pt x="828" y="0"/>
                  </a:lnTo>
                  <a:lnTo>
                    <a:pt x="785" y="0"/>
                  </a:lnTo>
                  <a:lnTo>
                    <a:pt x="732" y="10"/>
                  </a:lnTo>
                  <a:lnTo>
                    <a:pt x="684" y="22"/>
                  </a:lnTo>
                  <a:lnTo>
                    <a:pt x="641" y="36"/>
                  </a:lnTo>
                  <a:lnTo>
                    <a:pt x="598" y="51"/>
                  </a:lnTo>
                  <a:lnTo>
                    <a:pt x="562" y="70"/>
                  </a:lnTo>
                  <a:lnTo>
                    <a:pt x="533" y="84"/>
                  </a:lnTo>
                  <a:lnTo>
                    <a:pt x="504" y="104"/>
                  </a:lnTo>
                  <a:lnTo>
                    <a:pt x="468" y="140"/>
                  </a:lnTo>
                  <a:lnTo>
                    <a:pt x="420" y="185"/>
                  </a:lnTo>
                  <a:lnTo>
                    <a:pt x="386" y="221"/>
                  </a:lnTo>
                  <a:lnTo>
                    <a:pt x="0" y="773"/>
                  </a:lnTo>
                  <a:close/>
                </a:path>
              </a:pathLst>
            </a:custGeom>
            <a:blipFill dpi="0" rotWithShape="1">
              <a:blip r:embed="rId6" cstate="print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91" name="AutoShape 34" descr="вокзал copy"/>
            <p:cNvSpPr>
              <a:spLocks noChangeArrowheads="1"/>
            </p:cNvSpPr>
            <p:nvPr/>
          </p:nvSpPr>
          <p:spPr bwMode="auto">
            <a:xfrm>
              <a:off x="1942" y="2529"/>
              <a:ext cx="961" cy="682"/>
            </a:xfrm>
            <a:prstGeom prst="parallelogram">
              <a:avLst>
                <a:gd name="adj" fmla="val 89738"/>
              </a:avLst>
            </a:prstGeom>
            <a:blipFill dpi="0" rotWithShape="1">
              <a:blip r:embed="rId7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6692" name="AutoShape 34" descr="вокзал copy"/>
            <p:cNvSpPr>
              <a:spLocks noChangeArrowheads="1"/>
            </p:cNvSpPr>
            <p:nvPr/>
          </p:nvSpPr>
          <p:spPr bwMode="auto">
            <a:xfrm>
              <a:off x="2984" y="1672"/>
              <a:ext cx="1088" cy="794"/>
            </a:xfrm>
            <a:prstGeom prst="parallelogram">
              <a:avLst>
                <a:gd name="adj" fmla="val 94219"/>
              </a:avLst>
            </a:prstGeom>
            <a:blipFill dpi="0" rotWithShape="1">
              <a:blip r:embed="rId8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9217" name="Параллелограмм 9216"/>
          <p:cNvSpPr/>
          <p:nvPr/>
        </p:nvSpPr>
        <p:spPr>
          <a:xfrm flipV="1">
            <a:off x="2400300" y="908050"/>
            <a:ext cx="1376363" cy="838200"/>
          </a:xfrm>
          <a:prstGeom prst="parallelogram">
            <a:avLst>
              <a:gd name="adj" fmla="val 89393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7" name="Параллелограмм 36"/>
          <p:cNvSpPr/>
          <p:nvPr/>
        </p:nvSpPr>
        <p:spPr>
          <a:xfrm flipV="1">
            <a:off x="3117850" y="900113"/>
            <a:ext cx="1374775" cy="838200"/>
          </a:xfrm>
          <a:prstGeom prst="parallelogram">
            <a:avLst>
              <a:gd name="adj" fmla="val 89393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 flipH="1">
            <a:off x="3088937" y="-14849"/>
            <a:ext cx="6040638" cy="3451720"/>
          </a:xfrm>
          <a:custGeom>
            <a:avLst/>
            <a:gdLst>
              <a:gd name="connsiteX0" fmla="*/ 2946150 w 6040638"/>
              <a:gd name="connsiteY0" fmla="*/ 12042 h 3451720"/>
              <a:gd name="connsiteX1" fmla="*/ 0 w 6040638"/>
              <a:gd name="connsiteY1" fmla="*/ 12042 h 3451720"/>
              <a:gd name="connsiteX2" fmla="*/ 0 w 6040638"/>
              <a:gd name="connsiteY2" fmla="*/ 3451720 h 3451720"/>
              <a:gd name="connsiteX3" fmla="*/ 2946150 w 6040638"/>
              <a:gd name="connsiteY3" fmla="*/ 3451720 h 3451720"/>
              <a:gd name="connsiteX4" fmla="*/ 2950955 w 6040638"/>
              <a:gd name="connsiteY4" fmla="*/ 0 h 3451720"/>
              <a:gd name="connsiteX5" fmla="*/ 2950955 w 6040638"/>
              <a:gd name="connsiteY5" fmla="*/ 3439678 h 3451720"/>
              <a:gd name="connsiteX6" fmla="*/ 6040638 w 6040638"/>
              <a:gd name="connsiteY6" fmla="*/ 3439678 h 345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0638" h="3451720">
                <a:moveTo>
                  <a:pt x="2946150" y="12042"/>
                </a:moveTo>
                <a:lnTo>
                  <a:pt x="0" y="12042"/>
                </a:lnTo>
                <a:lnTo>
                  <a:pt x="0" y="3451720"/>
                </a:lnTo>
                <a:lnTo>
                  <a:pt x="2946150" y="3451720"/>
                </a:lnTo>
                <a:close/>
                <a:moveTo>
                  <a:pt x="2950955" y="0"/>
                </a:moveTo>
                <a:lnTo>
                  <a:pt x="2950955" y="3439678"/>
                </a:lnTo>
                <a:lnTo>
                  <a:pt x="6040638" y="3439678"/>
                </a:lnTo>
                <a:close/>
              </a:path>
            </a:pathLst>
          </a:custGeom>
          <a:blipFill dpi="0" rotWithShape="1">
            <a:blip r:embed="rId9" cstate="print">
              <a:alphaModFix amt="9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>
              <a:schemeClr val="accent1">
                <a:alpha val="80000"/>
              </a:schemeClr>
            </a:glow>
            <a:outerShdw blurRad="40000" dist="23000" dir="5400000" sx="1000" sy="1000" rotWithShape="0">
              <a:srgbClr val="000000"/>
            </a:outerShdw>
            <a:reflection endPos="0" dist="50800" dir="5400000" sy="-100000" algn="bl" rotWithShape="0"/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156681" name="AutoShape 34" descr="вокзал copy"/>
          <p:cNvSpPr>
            <a:spLocks noChangeArrowheads="1"/>
          </p:cNvSpPr>
          <p:nvPr/>
        </p:nvSpPr>
        <p:spPr bwMode="auto">
          <a:xfrm>
            <a:off x="2393950" y="2709863"/>
            <a:ext cx="1284288" cy="723900"/>
          </a:xfrm>
          <a:prstGeom prst="parallelogram">
            <a:avLst>
              <a:gd name="adj" fmla="val 89758"/>
            </a:avLst>
          </a:prstGeom>
          <a:blipFill dpi="0" rotWithShape="1">
            <a:blip r:embed="rId10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none" lIns="91435" tIns="45718" rIns="91435" bIns="45718" anchor="ctr"/>
          <a:lstStyle/>
          <a:p>
            <a:pPr defTabSz="455613" eaLnBrk="1" hangingPunct="1"/>
            <a:endParaRPr lang="ru-RU" altLang="ru-RU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6682" name="Freeform 12" descr="бпла1"/>
          <p:cNvSpPr>
            <a:spLocks/>
          </p:cNvSpPr>
          <p:nvPr/>
        </p:nvSpPr>
        <p:spPr bwMode="auto">
          <a:xfrm>
            <a:off x="3924300" y="6350"/>
            <a:ext cx="1458913" cy="882650"/>
          </a:xfrm>
          <a:custGeom>
            <a:avLst/>
            <a:gdLst>
              <a:gd name="T0" fmla="*/ 0 w 996"/>
              <a:gd name="T1" fmla="*/ 2147483646 h 773"/>
              <a:gd name="T2" fmla="*/ 2147483646 w 996"/>
              <a:gd name="T3" fmla="*/ 2147483646 h 773"/>
              <a:gd name="T4" fmla="*/ 2147483646 w 996"/>
              <a:gd name="T5" fmla="*/ 2147483646 h 773"/>
              <a:gd name="T6" fmla="*/ 2147483646 w 996"/>
              <a:gd name="T7" fmla="*/ 0 h 773"/>
              <a:gd name="T8" fmla="*/ 2147483646 w 996"/>
              <a:gd name="T9" fmla="*/ 0 h 773"/>
              <a:gd name="T10" fmla="*/ 2147483646 w 996"/>
              <a:gd name="T11" fmla="*/ 2147483646 h 773"/>
              <a:gd name="T12" fmla="*/ 2147483646 w 996"/>
              <a:gd name="T13" fmla="*/ 2147483646 h 773"/>
              <a:gd name="T14" fmla="*/ 2147483646 w 996"/>
              <a:gd name="T15" fmla="*/ 2147483646 h 773"/>
              <a:gd name="T16" fmla="*/ 2147483646 w 996"/>
              <a:gd name="T17" fmla="*/ 2147483646 h 773"/>
              <a:gd name="T18" fmla="*/ 2147483646 w 996"/>
              <a:gd name="T19" fmla="*/ 2147483646 h 773"/>
              <a:gd name="T20" fmla="*/ 2147483646 w 996"/>
              <a:gd name="T21" fmla="*/ 2147483646 h 773"/>
              <a:gd name="T22" fmla="*/ 2147483646 w 996"/>
              <a:gd name="T23" fmla="*/ 2147483646 h 773"/>
              <a:gd name="T24" fmla="*/ 2147483646 w 996"/>
              <a:gd name="T25" fmla="*/ 2147483646 h 773"/>
              <a:gd name="T26" fmla="*/ 2147483646 w 996"/>
              <a:gd name="T27" fmla="*/ 2147483646 h 773"/>
              <a:gd name="T28" fmla="*/ 2147483646 w 996"/>
              <a:gd name="T29" fmla="*/ 2147483646 h 773"/>
              <a:gd name="T30" fmla="*/ 0 w 996"/>
              <a:gd name="T31" fmla="*/ 2147483646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8" name="Freeform 12" descr="бпла1"/>
          <p:cNvSpPr>
            <a:spLocks/>
          </p:cNvSpPr>
          <p:nvPr/>
        </p:nvSpPr>
        <p:spPr bwMode="auto">
          <a:xfrm>
            <a:off x="3143250" y="28575"/>
            <a:ext cx="1349375" cy="825500"/>
          </a:xfrm>
          <a:custGeom>
            <a:avLst/>
            <a:gdLst>
              <a:gd name="T0" fmla="*/ 0 w 996"/>
              <a:gd name="T1" fmla="*/ 937 h 773"/>
              <a:gd name="T2" fmla="*/ 698 w 996"/>
              <a:gd name="T3" fmla="*/ 935 h 773"/>
              <a:gd name="T4" fmla="*/ 1515 w 996"/>
              <a:gd name="T5" fmla="*/ 3 h 773"/>
              <a:gd name="T6" fmla="*/ 1259 w 996"/>
              <a:gd name="T7" fmla="*/ 0 h 773"/>
              <a:gd name="T8" fmla="*/ 1192 w 996"/>
              <a:gd name="T9" fmla="*/ 0 h 773"/>
              <a:gd name="T10" fmla="*/ 1111 w 996"/>
              <a:gd name="T11" fmla="*/ 10 h 773"/>
              <a:gd name="T12" fmla="*/ 1040 w 996"/>
              <a:gd name="T13" fmla="*/ 22 h 773"/>
              <a:gd name="T14" fmla="*/ 975 w 996"/>
              <a:gd name="T15" fmla="*/ 36 h 773"/>
              <a:gd name="T16" fmla="*/ 910 w 996"/>
              <a:gd name="T17" fmla="*/ 51 h 773"/>
              <a:gd name="T18" fmla="*/ 853 w 996"/>
              <a:gd name="T19" fmla="*/ 70 h 773"/>
              <a:gd name="T20" fmla="*/ 809 w 996"/>
              <a:gd name="T21" fmla="*/ 114 h 773"/>
              <a:gd name="T22" fmla="*/ 764 w 996"/>
              <a:gd name="T23" fmla="*/ 134 h 773"/>
              <a:gd name="T24" fmla="*/ 712 w 996"/>
              <a:gd name="T25" fmla="*/ 170 h 773"/>
              <a:gd name="T26" fmla="*/ 637 w 996"/>
              <a:gd name="T27" fmla="*/ 215 h 773"/>
              <a:gd name="T28" fmla="*/ 586 w 996"/>
              <a:gd name="T29" fmla="*/ 270 h 773"/>
              <a:gd name="T30" fmla="*/ 0 w 996"/>
              <a:gd name="T31" fmla="*/ 937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blipFill dpi="0"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6">
                <a:lumMod val="10000"/>
                <a:lumOff val="90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/>
          </a:p>
        </p:txBody>
      </p:sp>
      <p:sp>
        <p:nvSpPr>
          <p:cNvPr id="18" name="Freeform 12" descr="бпла1"/>
          <p:cNvSpPr>
            <a:spLocks/>
          </p:cNvSpPr>
          <p:nvPr/>
        </p:nvSpPr>
        <p:spPr bwMode="auto">
          <a:xfrm>
            <a:off x="1609725" y="50800"/>
            <a:ext cx="1350963" cy="827088"/>
          </a:xfrm>
          <a:custGeom>
            <a:avLst/>
            <a:gdLst>
              <a:gd name="T0" fmla="*/ 0 w 996"/>
              <a:gd name="T1" fmla="*/ 937 h 773"/>
              <a:gd name="T2" fmla="*/ 698 w 996"/>
              <a:gd name="T3" fmla="*/ 935 h 773"/>
              <a:gd name="T4" fmla="*/ 1515 w 996"/>
              <a:gd name="T5" fmla="*/ 3 h 773"/>
              <a:gd name="T6" fmla="*/ 1259 w 996"/>
              <a:gd name="T7" fmla="*/ 0 h 773"/>
              <a:gd name="T8" fmla="*/ 1192 w 996"/>
              <a:gd name="T9" fmla="*/ 0 h 773"/>
              <a:gd name="T10" fmla="*/ 1111 w 996"/>
              <a:gd name="T11" fmla="*/ 10 h 773"/>
              <a:gd name="T12" fmla="*/ 1040 w 996"/>
              <a:gd name="T13" fmla="*/ 22 h 773"/>
              <a:gd name="T14" fmla="*/ 975 w 996"/>
              <a:gd name="T15" fmla="*/ 36 h 773"/>
              <a:gd name="T16" fmla="*/ 910 w 996"/>
              <a:gd name="T17" fmla="*/ 51 h 773"/>
              <a:gd name="T18" fmla="*/ 853 w 996"/>
              <a:gd name="T19" fmla="*/ 70 h 773"/>
              <a:gd name="T20" fmla="*/ 809 w 996"/>
              <a:gd name="T21" fmla="*/ 114 h 773"/>
              <a:gd name="T22" fmla="*/ 764 w 996"/>
              <a:gd name="T23" fmla="*/ 134 h 773"/>
              <a:gd name="T24" fmla="*/ 712 w 996"/>
              <a:gd name="T25" fmla="*/ 170 h 773"/>
              <a:gd name="T26" fmla="*/ 637 w 996"/>
              <a:gd name="T27" fmla="*/ 215 h 773"/>
              <a:gd name="T28" fmla="*/ 586 w 996"/>
              <a:gd name="T29" fmla="*/ 270 h 773"/>
              <a:gd name="T30" fmla="*/ 0 w 996"/>
              <a:gd name="T31" fmla="*/ 937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blipFill dpi="0"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6">
                <a:lumMod val="10000"/>
                <a:lumOff val="90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/>
          </a:p>
        </p:txBody>
      </p:sp>
      <p:sp>
        <p:nvSpPr>
          <p:cNvPr id="20" name="Параллелограмм 19"/>
          <p:cNvSpPr/>
          <p:nvPr/>
        </p:nvSpPr>
        <p:spPr>
          <a:xfrm flipV="1">
            <a:off x="1625600" y="914400"/>
            <a:ext cx="1376363" cy="838200"/>
          </a:xfrm>
          <a:prstGeom prst="parallelogram">
            <a:avLst>
              <a:gd name="adj" fmla="val 89393"/>
            </a:avLst>
          </a:prstGeom>
          <a:solidFill>
            <a:srgbClr val="DDDDDD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56686" name="AutoShape 34" descr="вокзал copy"/>
          <p:cNvSpPr>
            <a:spLocks noChangeArrowheads="1"/>
          </p:cNvSpPr>
          <p:nvPr/>
        </p:nvSpPr>
        <p:spPr bwMode="auto">
          <a:xfrm>
            <a:off x="911225" y="2700338"/>
            <a:ext cx="1284288" cy="723900"/>
          </a:xfrm>
          <a:prstGeom prst="parallelogram">
            <a:avLst>
              <a:gd name="adj" fmla="val 89758"/>
            </a:avLst>
          </a:prstGeom>
          <a:blipFill dpi="0" rotWithShape="1">
            <a:blip r:embed="rId13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none" lIns="91435" tIns="45718" rIns="91435" bIns="45718" anchor="ctr"/>
          <a:lstStyle/>
          <a:p>
            <a:pPr defTabSz="455613" eaLnBrk="1" hangingPunct="1"/>
            <a:endParaRPr lang="ru-RU" altLang="ru-RU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рушения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ов и железнодорожных путей </a:t>
            </a:r>
            <a:endParaRPr lang="ru-RU" sz="1400" b="1" i="1" dirty="0">
              <a:solidFill>
                <a:prstClr val="black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9" name="Рисунок 8" descr="C:\Users\korchaginav\Desktop\№1  переезды 2024\ДТП\ДТП ПЧ-12 26.01.2024\Фото\IMG-20240126-WA011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123" y="2828427"/>
            <a:ext cx="2052228" cy="20714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 descr="C:\Users\korchaginav\Desktop\№1  переезды 2024\ДТП\Кр.Столбы-Дивногорск\-5233266192905522297_12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14" y="647615"/>
            <a:ext cx="2179056" cy="1898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C:\Users\korchaginav\Desktop\№1  переезды 2024\ДПП\13.02.2024 ПЧ-3\ДПП Максимов В.Н. фото 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913" y="2823977"/>
            <a:ext cx="2073155" cy="20714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Рисунок 13" descr="C:\Users\korchaginav\Desktop\№1  переезды 2024\ДПП\08.02.2024 ПЧ-4\10bed687-07cd-4a78-bd25-4dae421a65d4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647615"/>
            <a:ext cx="2124236" cy="1879924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121414" y="2838167"/>
            <a:ext cx="2179056" cy="115713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 января 2024 г.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перегоне Красноярские Столбы – Дивногорск пригородный поезд применил экстренное торможение для предотвращения наезда на легковой  автомобиль марки «TOYOTA  RAV4»</a:t>
            </a:r>
          </a:p>
        </p:txBody>
      </p:sp>
      <p:sp>
        <p:nvSpPr>
          <p:cNvPr id="18" name="Скругленный прямоугольник 75">
            <a:extLst>
              <a:ext uri="{FF2B5EF4-FFF2-40B4-BE49-F238E27FC236}">
                <a16:creationId xmlns="" xmlns:a16="http://schemas.microsoft.com/office/drawing/2014/main" id="{5684B2B4-2EA9-4BFB-9BF0-CD0443C63006}"/>
              </a:ext>
            </a:extLst>
          </p:cNvPr>
          <p:cNvSpPr/>
          <p:nvPr/>
        </p:nvSpPr>
        <p:spPr>
          <a:xfrm>
            <a:off x="2346707" y="660483"/>
            <a:ext cx="2179056" cy="1464459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6 января 2024 г.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ж.д. переезде 836 км пк 5 перегона Ирбейская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– Коростелево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Ирбейский район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) 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грузовой автомобиль марки HOWO двигаясь со стороны села Ирбейская в сторону села Новая Солянка, допустил самопроизвольный подъем кузова и выезд на железнодорожный переезд с последующим обрывом контактного провода, волновода ВОЛС, ДПР</a:t>
            </a:r>
          </a:p>
          <a:p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75">
            <a:extLst>
              <a:ext uri="{FF2B5EF4-FFF2-40B4-BE49-F238E27FC236}">
                <a16:creationId xmlns="" xmlns:a16="http://schemas.microsoft.com/office/drawing/2014/main" id="{22D0E5FD-EDBC-418F-B7CB-635EA97AF7C6}"/>
              </a:ext>
            </a:extLst>
          </p:cNvPr>
          <p:cNvSpPr/>
          <p:nvPr/>
        </p:nvSpPr>
        <p:spPr>
          <a:xfrm>
            <a:off x="4663651" y="2825672"/>
            <a:ext cx="2073155" cy="115713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 февраля 2024 г. 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ж.д. переезде 4231 км пк 9  перегона Уяр – БП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4234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Уярский район)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км дежурный по переезду предотвратил столкновение пассажирского поезда с грузовым автомобилем марки «Ford Cargo»</a:t>
            </a:r>
          </a:p>
        </p:txBody>
      </p:sp>
      <p:sp>
        <p:nvSpPr>
          <p:cNvPr id="20" name="Скругленный прямоугольник 75">
            <a:extLst>
              <a:ext uri="{FF2B5EF4-FFF2-40B4-BE49-F238E27FC236}">
                <a16:creationId xmlns="" xmlns:a16="http://schemas.microsoft.com/office/drawing/2014/main" id="{D649C976-CAE0-486C-9739-399E5F02F6FB}"/>
              </a:ext>
            </a:extLst>
          </p:cNvPr>
          <p:cNvSpPr/>
          <p:nvPr/>
        </p:nvSpPr>
        <p:spPr>
          <a:xfrm>
            <a:off x="6843913" y="633921"/>
            <a:ext cx="2073155" cy="115713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3 февраля 2024 г.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ж.д. переезде 4130 км пк 8  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ст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. Красноярск-Восточный парк «З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»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Березовский райо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)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ежурный по переезду предотвратил столкновение грузовых поездов поезда с грузовым автомобилем марки MAN», груженный экскаватором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1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523198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noProof="0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рушения водителями автотранспортных средств ПДД РФ, при проследовании железнодорожных </a:t>
            </a:r>
            <a:r>
              <a:rPr lang="ru-RU" sz="1400" b="1" noProof="0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ов и технологического проезда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121414" y="2838166"/>
            <a:ext cx="2179056" cy="128175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2 мая </a:t>
            </a:r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 г.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 ж.д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е по  ст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Карабула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Богучанский район)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автомобиль УАЗ совершил наезд на переездный светофор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75">
            <a:extLst>
              <a:ext uri="{FF2B5EF4-FFF2-40B4-BE49-F238E27FC236}">
                <a16:creationId xmlns="" xmlns:a16="http://schemas.microsoft.com/office/drawing/2014/main" id="{5684B2B4-2EA9-4BFB-9BF0-CD0443C63006}"/>
              </a:ext>
            </a:extLst>
          </p:cNvPr>
          <p:cNvSpPr/>
          <p:nvPr/>
        </p:nvSpPr>
        <p:spPr>
          <a:xfrm>
            <a:off x="2346707" y="660483"/>
            <a:ext cx="2179056" cy="1767251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1 июня 2024 г.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при производстве маневровой работы на пути необщего пользования № 49 на 386 км пк 8, примыкающего к железнодорожной </a:t>
            </a:r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ст. Абакан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пересечении технологического проезда со скоростью 10 км/ч (при допустимой 15 км/ч) и белом огне локомотивного светофора, допущено столкновение вагона с автомобилем марки «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Honda INSIGHT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75">
            <a:extLst>
              <a:ext uri="{FF2B5EF4-FFF2-40B4-BE49-F238E27FC236}">
                <a16:creationId xmlns="" xmlns:a16="http://schemas.microsoft.com/office/drawing/2014/main" id="{22D0E5FD-EDBC-418F-B7CB-635EA97AF7C6}"/>
              </a:ext>
            </a:extLst>
          </p:cNvPr>
          <p:cNvSpPr/>
          <p:nvPr/>
        </p:nvSpPr>
        <p:spPr>
          <a:xfrm>
            <a:off x="4663651" y="2838166"/>
            <a:ext cx="2073155" cy="1497780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 августа 2024 г. </a:t>
            </a:r>
            <a:r>
              <a:rPr lang="ru-RU" sz="800" dirty="0" smtClean="0"/>
              <a:t>водителем </a:t>
            </a:r>
            <a:r>
              <a:rPr lang="ru-RU" sz="800" dirty="0"/>
              <a:t>автомобиля «Нива Шевроле</a:t>
            </a:r>
            <a:r>
              <a:rPr lang="ru-RU" sz="800" dirty="0" smtClean="0"/>
              <a:t>», допущено  </a:t>
            </a:r>
            <a:r>
              <a:rPr lang="ru-RU" sz="800" dirty="0"/>
              <a:t>столкновение с 8 направляющими столбиками, в следствии чего были сбит светофор «А» и дорожного знака 2.5 «СТОП» при проследовании регулируемого </a:t>
            </a:r>
            <a:r>
              <a:rPr lang="ru-RU" sz="800" dirty="0" smtClean="0"/>
              <a:t>ж.д. </a:t>
            </a:r>
            <a:r>
              <a:rPr lang="ru-RU" sz="800" dirty="0"/>
              <a:t>переезда, без дежурного работника на     113 км пк 3 на перегоне Красная Сопка – </a:t>
            </a:r>
            <a:r>
              <a:rPr lang="ru-RU" sz="800" dirty="0" smtClean="0"/>
              <a:t>Крутояр </a:t>
            </a:r>
            <a:r>
              <a:rPr lang="ru-RU" sz="800" b="1" dirty="0" smtClean="0"/>
              <a:t>(Ужурский район) </a:t>
            </a:r>
            <a:endParaRPr lang="ru-RU" sz="800" b="1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75">
            <a:extLst>
              <a:ext uri="{FF2B5EF4-FFF2-40B4-BE49-F238E27FC236}">
                <a16:creationId xmlns="" xmlns:a16="http://schemas.microsoft.com/office/drawing/2014/main" id="{D649C976-CAE0-486C-9739-399E5F02F6FB}"/>
              </a:ext>
            </a:extLst>
          </p:cNvPr>
          <p:cNvSpPr/>
          <p:nvPr/>
        </p:nvSpPr>
        <p:spPr>
          <a:xfrm>
            <a:off x="6843913" y="633920"/>
            <a:ext cx="2073155" cy="186582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75 км ст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Ташеба                             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Усть-Абаканский район)</a:t>
            </a:r>
            <a:endParaRPr lang="ru-RU" sz="800" b="1" dirty="0" smtClean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9 января 2024 г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ашинист грузового поезда передал замечание, что через ж.д. переезд на красный сигнал светофора проехал пассажирский автобус.</a:t>
            </a: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6 июля 2024 г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ашинист электропоезда Бискамжа-Абакан, увидел приближающийся к переезду грузовой автомобиль, водитель которого не реагировал на громкие сигналы и запрещающий сигнал светофора, применил экстренное торможение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2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  <p:pic>
        <p:nvPicPr>
          <p:cNvPr id="15" name="Рисунок 14" descr="C:\Users\korchaginav\Desktop\№1  переезды 2024\ДТП\12.05.2024 Карабула\IMG-1ef7133e58de25e872e1dea972acc7d1-V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9" t="11671" r="1144" b="31179"/>
          <a:stretch/>
        </p:blipFill>
        <p:spPr bwMode="auto">
          <a:xfrm>
            <a:off x="125234" y="633921"/>
            <a:ext cx="2175236" cy="193782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2" name="Рисунок 21" descr="C:\Users\korchaginav\Desktop\№1  переезды 2024\ДТП\02. Абакан\IMG-20240611-WA0038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1" y="2704259"/>
            <a:ext cx="2114002" cy="21891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Рисунок 22" descr="C:\Users\korchaginav\Desktop\№1  переезды 2024\ДТП\03.08.2024 Крутояр\1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651" y="660483"/>
            <a:ext cx="2073155" cy="1911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3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913" y="2704258"/>
            <a:ext cx="2073155" cy="2189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2548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523198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noProof="0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рушения водителями автотранспортных средств ПДД РФ, при проследовании железнодорожных </a:t>
            </a:r>
            <a:r>
              <a:rPr lang="ru-RU" sz="1400" b="1" noProof="0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ов и железнодорожных путей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215516" y="2838167"/>
            <a:ext cx="2522733" cy="106573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4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сентября </a:t>
            </a:r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 г.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 ж.д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е 4180 км перегон Камарчага-Балай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Манский район)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ежурный по переезду предотвратил столкновение грузового поезда с легковым автомобилем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75">
            <a:extLst>
              <a:ext uri="{FF2B5EF4-FFF2-40B4-BE49-F238E27FC236}">
                <a16:creationId xmlns="" xmlns:a16="http://schemas.microsoft.com/office/drawing/2014/main" id="{5684B2B4-2EA9-4BFB-9BF0-CD0443C63006}"/>
              </a:ext>
            </a:extLst>
          </p:cNvPr>
          <p:cNvSpPr/>
          <p:nvPr/>
        </p:nvSpPr>
        <p:spPr>
          <a:xfrm>
            <a:off x="2987824" y="660483"/>
            <a:ext cx="2664296" cy="144321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0 октября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 г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ашинист грузового поезда на ст. Теба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Междуреченский муниципальный округ)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рименил экстренное торможение предотвращая наезд на постороннего человека перетаскивающего мотоцикл через железнодорожный путь. Водитель мотоцикла с места ДТП скрылся, оставив автотранспортное средства внутри колеи, у которого не было государственного номера  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75">
            <a:extLst>
              <a:ext uri="{FF2B5EF4-FFF2-40B4-BE49-F238E27FC236}">
                <a16:creationId xmlns="" xmlns:a16="http://schemas.microsoft.com/office/drawing/2014/main" id="{22D0E5FD-EDBC-418F-B7CB-635EA97AF7C6}"/>
              </a:ext>
            </a:extLst>
          </p:cNvPr>
          <p:cNvSpPr/>
          <p:nvPr/>
        </p:nvSpPr>
        <p:spPr>
          <a:xfrm>
            <a:off x="6156176" y="2879096"/>
            <a:ext cx="2736304" cy="12408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3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октября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 г.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водитель автомобиля КАМАЗ  с крановой установкой на ж.д. переезде 279 км перегона Казановская-Аскиз </a:t>
            </a:r>
            <a:r>
              <a:rPr lang="ru-RU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Аскизский район)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не справившийся с управлением допустил выезд на встречную полосу для движения, сбил две опоры освещения, 6 шт. направляющих столбиков, повредил кровлю пункта обогрева, без столкновения с подвижным составом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3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  <p:pic>
        <p:nvPicPr>
          <p:cNvPr id="14" name="Рисунок 13" descr="C:\Users\korchaginav\Desktop\№1  переезды 2024\ДПП\24.09.2024 ПЧ-4\7b16da9d-468a-421c-adbd-567291ea157d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06" r="9055" b="8596"/>
          <a:stretch/>
        </p:blipFill>
        <p:spPr bwMode="auto">
          <a:xfrm>
            <a:off x="215516" y="701665"/>
            <a:ext cx="2470366" cy="191126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5" name="Рисунок 24" descr="C:\Users\korchaginav\Desktop\№1  переезды 2024\ДТП\10.10.2024  ПЧ-7 ДТП вне переезда\IMG-20241010-WA000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2620170"/>
            <a:ext cx="2664296" cy="22316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Рисунок 25" descr="C:\Users\korchaginav\Desktop\13.10.2024 ДТП ПЧ-8\IMG-20241013-WA001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633920"/>
            <a:ext cx="2736304" cy="19378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7435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097</TotalTime>
  <Words>572</Words>
  <Application>Microsoft Office PowerPoint</Application>
  <PresentationFormat>Экран (16:9)</PresentationFormat>
  <Paragraphs>27</Paragraphs>
  <Slides>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9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193</cp:revision>
  <cp:lastPrinted>2024-08-30T00:23:45Z</cp:lastPrinted>
  <dcterms:created xsi:type="dcterms:W3CDTF">2011-05-23T14:04:51Z</dcterms:created>
  <dcterms:modified xsi:type="dcterms:W3CDTF">2024-10-14T02:15:01Z</dcterms:modified>
</cp:coreProperties>
</file>